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32" r:id="rId4"/>
    <p:sldMasterId id="2147483945" r:id="rId5"/>
    <p:sldMasterId id="2147484020" r:id="rId6"/>
  </p:sldMasterIdLst>
  <p:notesMasterIdLst>
    <p:notesMasterId r:id="rId26"/>
  </p:notesMasterIdLst>
  <p:handoutMasterIdLst>
    <p:handoutMasterId r:id="rId27"/>
  </p:handoutMasterIdLst>
  <p:sldIdLst>
    <p:sldId id="445" r:id="rId7"/>
    <p:sldId id="377" r:id="rId8"/>
    <p:sldId id="493" r:id="rId9"/>
    <p:sldId id="530" r:id="rId10"/>
    <p:sldId id="512" r:id="rId11"/>
    <p:sldId id="531" r:id="rId12"/>
    <p:sldId id="525" r:id="rId13"/>
    <p:sldId id="516" r:id="rId14"/>
    <p:sldId id="517" r:id="rId15"/>
    <p:sldId id="518" r:id="rId16"/>
    <p:sldId id="526" r:id="rId17"/>
    <p:sldId id="532" r:id="rId18"/>
    <p:sldId id="528" r:id="rId19"/>
    <p:sldId id="524" r:id="rId20"/>
    <p:sldId id="527" r:id="rId21"/>
    <p:sldId id="533" r:id="rId22"/>
    <p:sldId id="529" r:id="rId23"/>
    <p:sldId id="510" r:id="rId24"/>
    <p:sldId id="270" r:id="rId25"/>
  </p:sldIdLst>
  <p:sldSz cx="12192000" cy="6858000"/>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D2BE58-6394-446D-BC3B-31E195F5054C}" v="1135" dt="2024-06-12T17:51:05.3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271" autoAdjust="0"/>
  </p:normalViewPr>
  <p:slideViewPr>
    <p:cSldViewPr snapToGrid="0">
      <p:cViewPr varScale="1">
        <p:scale>
          <a:sx n="68" d="100"/>
          <a:sy n="68" d="100"/>
        </p:scale>
        <p:origin x="408" y="5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rcado, Andrea Marisol" userId="S::andmercado@deloitte.com::86282f0d-01fd-4acc-9387-9717b48c3e5d" providerId="AD" clId="Web-{D5FD2490-063C-8E35-5179-DB9BCCA6AE66}"/>
    <pc:docChg chg="modSld">
      <pc:chgData name="Mercado, Andrea Marisol" userId="S::andmercado@deloitte.com::86282f0d-01fd-4acc-9387-9717b48c3e5d" providerId="AD" clId="Web-{D5FD2490-063C-8E35-5179-DB9BCCA6AE66}" dt="2024-05-31T18:36:52.513" v="161"/>
      <pc:docMkLst>
        <pc:docMk/>
      </pc:docMkLst>
      <pc:sldChg chg="modSp">
        <pc:chgData name="Mercado, Andrea Marisol" userId="S::andmercado@deloitte.com::86282f0d-01fd-4acc-9387-9717b48c3e5d" providerId="AD" clId="Web-{D5FD2490-063C-8E35-5179-DB9BCCA6AE66}" dt="2024-05-31T18:36:52.513" v="161"/>
        <pc:sldMkLst>
          <pc:docMk/>
          <pc:sldMk cId="2966844647" sldId="493"/>
        </pc:sldMkLst>
        <pc:graphicFrameChg chg="mod modGraphic">
          <ac:chgData name="Mercado, Andrea Marisol" userId="S::andmercado@deloitte.com::86282f0d-01fd-4acc-9387-9717b48c3e5d" providerId="AD" clId="Web-{D5FD2490-063C-8E35-5179-DB9BCCA6AE66}" dt="2024-05-31T18:36:52.513" v="161"/>
          <ac:graphicFrameMkLst>
            <pc:docMk/>
            <pc:sldMk cId="2966844647" sldId="493"/>
            <ac:graphicFrameMk id="7" creationId="{3B0C6FD2-6FE9-6B07-5F93-0F7B3FD967ED}"/>
          </ac:graphicFrameMkLst>
        </pc:graphicFrameChg>
      </pc:sldChg>
    </pc:docChg>
  </pc:docChgLst>
  <pc:docChgLst>
    <pc:chgData name="Chavarria, Nicole" userId="S::nchavarria@deloitte.com::59465f16-f52e-4fac-9696-8351220b84a8" providerId="AD" clId="Web-{C8CD0C3C-5E7F-4B58-89CA-DAECB1AA95A1}"/>
    <pc:docChg chg="modSld">
      <pc:chgData name="Chavarria, Nicole" userId="S::nchavarria@deloitte.com::59465f16-f52e-4fac-9696-8351220b84a8" providerId="AD" clId="Web-{C8CD0C3C-5E7F-4B58-89CA-DAECB1AA95A1}" dt="2024-05-17T19:14:48.405" v="3"/>
      <pc:docMkLst>
        <pc:docMk/>
      </pc:docMkLst>
      <pc:sldChg chg="addSp delSp modSp">
        <pc:chgData name="Chavarria, Nicole" userId="S::nchavarria@deloitte.com::59465f16-f52e-4fac-9696-8351220b84a8" providerId="AD" clId="Web-{C8CD0C3C-5E7F-4B58-89CA-DAECB1AA95A1}" dt="2024-05-17T19:14:48.405" v="3"/>
        <pc:sldMkLst>
          <pc:docMk/>
          <pc:sldMk cId="3929932632" sldId="509"/>
        </pc:sldMkLst>
        <pc:graphicFrameChg chg="add del mod">
          <ac:chgData name="Chavarria, Nicole" userId="S::nchavarria@deloitte.com::59465f16-f52e-4fac-9696-8351220b84a8" providerId="AD" clId="Web-{C8CD0C3C-5E7F-4B58-89CA-DAECB1AA95A1}" dt="2024-05-17T19:14:48.405" v="3"/>
          <ac:graphicFrameMkLst>
            <pc:docMk/>
            <pc:sldMk cId="3929932632" sldId="509"/>
            <ac:graphicFrameMk id="6" creationId="{09AD748E-3B40-70CC-09E1-B8ADAA77990E}"/>
          </ac:graphicFrameMkLst>
        </pc:graphicFrameChg>
      </pc:sldChg>
    </pc:docChg>
  </pc:docChgLst>
  <pc:docChgLst>
    <pc:chgData name="Delgado Perez, Kevin Joan" userId="562c2034-40c9-48bd-b698-815edf005a5c" providerId="ADAL" clId="{E9907CB0-64F1-4949-B7BB-B958D73F1FB3}"/>
    <pc:docChg chg="undo redo custSel addSld delSld modSld sldOrd">
      <pc:chgData name="Delgado Perez, Kevin Joan" userId="562c2034-40c9-48bd-b698-815edf005a5c" providerId="ADAL" clId="{E9907CB0-64F1-4949-B7BB-B958D73F1FB3}" dt="2024-06-06T18:21:29.511" v="4035" actId="20577"/>
      <pc:docMkLst>
        <pc:docMk/>
      </pc:docMkLst>
      <pc:sldChg chg="modNotes">
        <pc:chgData name="Delgado Perez, Kevin Joan" userId="562c2034-40c9-48bd-b698-815edf005a5c" providerId="ADAL" clId="{E9907CB0-64F1-4949-B7BB-B958D73F1FB3}" dt="2024-05-07T20:48:20.562" v="248" actId="27636"/>
        <pc:sldMkLst>
          <pc:docMk/>
          <pc:sldMk cId="4231841769" sldId="347"/>
        </pc:sldMkLst>
      </pc:sldChg>
      <pc:sldChg chg="addSp delSp modSp mod">
        <pc:chgData name="Delgado Perez, Kevin Joan" userId="562c2034-40c9-48bd-b698-815edf005a5c" providerId="ADAL" clId="{E9907CB0-64F1-4949-B7BB-B958D73F1FB3}" dt="2024-05-27T15:16:38.202" v="677" actId="18131"/>
        <pc:sldMkLst>
          <pc:docMk/>
          <pc:sldMk cId="153350407" sldId="377"/>
        </pc:sldMkLst>
        <pc:spChg chg="add del mod">
          <ac:chgData name="Delgado Perez, Kevin Joan" userId="562c2034-40c9-48bd-b698-815edf005a5c" providerId="ADAL" clId="{E9907CB0-64F1-4949-B7BB-B958D73F1FB3}" dt="2024-05-27T15:16:15.248" v="673" actId="931"/>
          <ac:spMkLst>
            <pc:docMk/>
            <pc:sldMk cId="153350407" sldId="377"/>
            <ac:spMk id="8" creationId="{8477BE24-CFF5-37D0-BAED-16E291CDAD55}"/>
          </ac:spMkLst>
        </pc:spChg>
        <pc:picChg chg="add del mod modCrop">
          <ac:chgData name="Delgado Perez, Kevin Joan" userId="562c2034-40c9-48bd-b698-815edf005a5c" providerId="ADAL" clId="{E9907CB0-64F1-4949-B7BB-B958D73F1FB3}" dt="2024-05-27T15:16:17.791" v="676" actId="478"/>
          <ac:picMkLst>
            <pc:docMk/>
            <pc:sldMk cId="153350407" sldId="377"/>
            <ac:picMk id="6" creationId="{03415804-6E20-E94C-0C07-7A91C1C5C160}"/>
          </ac:picMkLst>
        </pc:picChg>
        <pc:picChg chg="add mod modCrop">
          <ac:chgData name="Delgado Perez, Kevin Joan" userId="562c2034-40c9-48bd-b698-815edf005a5c" providerId="ADAL" clId="{E9907CB0-64F1-4949-B7BB-B958D73F1FB3}" dt="2024-05-27T15:16:38.202" v="677" actId="18131"/>
          <ac:picMkLst>
            <pc:docMk/>
            <pc:sldMk cId="153350407" sldId="377"/>
            <ac:picMk id="10" creationId="{0C6B0F90-0345-2FC0-95E2-3F9D5E35CCC4}"/>
          </ac:picMkLst>
        </pc:picChg>
        <pc:picChg chg="del mod">
          <ac:chgData name="Delgado Perez, Kevin Joan" userId="562c2034-40c9-48bd-b698-815edf005a5c" providerId="ADAL" clId="{E9907CB0-64F1-4949-B7BB-B958D73F1FB3}" dt="2024-05-27T15:16:03.735" v="670" actId="478"/>
          <ac:picMkLst>
            <pc:docMk/>
            <pc:sldMk cId="153350407" sldId="377"/>
            <ac:picMk id="22" creationId="{8F345E55-0640-0939-00FC-CE973510CA39}"/>
          </ac:picMkLst>
        </pc:picChg>
      </pc:sldChg>
      <pc:sldChg chg="delSp mod">
        <pc:chgData name="Delgado Perez, Kevin Joan" userId="562c2034-40c9-48bd-b698-815edf005a5c" providerId="ADAL" clId="{E9907CB0-64F1-4949-B7BB-B958D73F1FB3}" dt="2024-06-05T17:11:00.204" v="3926" actId="478"/>
        <pc:sldMkLst>
          <pc:docMk/>
          <pc:sldMk cId="3293253968" sldId="445"/>
        </pc:sldMkLst>
        <pc:spChg chg="del">
          <ac:chgData name="Delgado Perez, Kevin Joan" userId="562c2034-40c9-48bd-b698-815edf005a5c" providerId="ADAL" clId="{E9907CB0-64F1-4949-B7BB-B958D73F1FB3}" dt="2024-06-05T17:11:00.204" v="3926" actId="478"/>
          <ac:spMkLst>
            <pc:docMk/>
            <pc:sldMk cId="3293253968" sldId="445"/>
            <ac:spMk id="19" creationId="{8B42EAB4-C715-0E0B-B9CC-B801EBBC324B}"/>
          </ac:spMkLst>
        </pc:spChg>
      </pc:sldChg>
      <pc:sldChg chg="delSp modSp mod ord">
        <pc:chgData name="Delgado Perez, Kevin Joan" userId="562c2034-40c9-48bd-b698-815edf005a5c" providerId="ADAL" clId="{E9907CB0-64F1-4949-B7BB-B958D73F1FB3}" dt="2024-05-07T20:51:57.846" v="652" actId="20577"/>
        <pc:sldMkLst>
          <pc:docMk/>
          <pc:sldMk cId="3307669921" sldId="478"/>
        </pc:sldMkLst>
        <pc:spChg chg="del mod">
          <ac:chgData name="Delgado Perez, Kevin Joan" userId="562c2034-40c9-48bd-b698-815edf005a5c" providerId="ADAL" clId="{E9907CB0-64F1-4949-B7BB-B958D73F1FB3}" dt="2024-05-07T20:40:29.819" v="73" actId="478"/>
          <ac:spMkLst>
            <pc:docMk/>
            <pc:sldMk cId="3307669921" sldId="478"/>
            <ac:spMk id="6" creationId="{00000000-0000-0000-0000-000000000000}"/>
          </ac:spMkLst>
        </pc:spChg>
        <pc:spChg chg="mod">
          <ac:chgData name="Delgado Perez, Kevin Joan" userId="562c2034-40c9-48bd-b698-815edf005a5c" providerId="ADAL" clId="{E9907CB0-64F1-4949-B7BB-B958D73F1FB3}" dt="2024-05-07T20:45:06.069" v="170" actId="1076"/>
          <ac:spMkLst>
            <pc:docMk/>
            <pc:sldMk cId="3307669921" sldId="478"/>
            <ac:spMk id="10" creationId="{00000000-0000-0000-0000-000000000000}"/>
          </ac:spMkLst>
        </pc:spChg>
        <pc:spChg chg="mod">
          <ac:chgData name="Delgado Perez, Kevin Joan" userId="562c2034-40c9-48bd-b698-815edf005a5c" providerId="ADAL" clId="{E9907CB0-64F1-4949-B7BB-B958D73F1FB3}" dt="2024-05-07T20:45:15.937" v="172" actId="20577"/>
          <ac:spMkLst>
            <pc:docMk/>
            <pc:sldMk cId="3307669921" sldId="478"/>
            <ac:spMk id="31" creationId="{BAF99135-BB3A-16E1-CE38-16FAAF9E2BFD}"/>
          </ac:spMkLst>
        </pc:spChg>
        <pc:spChg chg="mod">
          <ac:chgData name="Delgado Perez, Kevin Joan" userId="562c2034-40c9-48bd-b698-815edf005a5c" providerId="ADAL" clId="{E9907CB0-64F1-4949-B7BB-B958D73F1FB3}" dt="2024-05-07T20:51:57.846" v="652" actId="20577"/>
          <ac:spMkLst>
            <pc:docMk/>
            <pc:sldMk cId="3307669921" sldId="478"/>
            <ac:spMk id="36" creationId="{9696C2C3-74B3-7B5D-D333-78DC4899E1DC}"/>
          </ac:spMkLst>
        </pc:spChg>
      </pc:sldChg>
      <pc:sldChg chg="addSp delSp modSp mod">
        <pc:chgData name="Delgado Perez, Kevin Joan" userId="562c2034-40c9-48bd-b698-815edf005a5c" providerId="ADAL" clId="{E9907CB0-64F1-4949-B7BB-B958D73F1FB3}" dt="2024-05-28T20:01:52.798" v="2000" actId="1076"/>
        <pc:sldMkLst>
          <pc:docMk/>
          <pc:sldMk cId="966376479" sldId="507"/>
        </pc:sldMkLst>
        <pc:spChg chg="mod">
          <ac:chgData name="Delgado Perez, Kevin Joan" userId="562c2034-40c9-48bd-b698-815edf005a5c" providerId="ADAL" clId="{E9907CB0-64F1-4949-B7BB-B958D73F1FB3}" dt="2024-05-27T15:32:57.094" v="753" actId="1076"/>
          <ac:spMkLst>
            <pc:docMk/>
            <pc:sldMk cId="966376479" sldId="507"/>
            <ac:spMk id="2" creationId="{DD3E9394-8F12-4664-1399-56007181728D}"/>
          </ac:spMkLst>
        </pc:spChg>
        <pc:spChg chg="mod">
          <ac:chgData name="Delgado Perez, Kevin Joan" userId="562c2034-40c9-48bd-b698-815edf005a5c" providerId="ADAL" clId="{E9907CB0-64F1-4949-B7BB-B958D73F1FB3}" dt="2024-05-27T15:27:03.512" v="727" actId="1076"/>
          <ac:spMkLst>
            <pc:docMk/>
            <pc:sldMk cId="966376479" sldId="507"/>
            <ac:spMk id="3" creationId="{3F3C86EC-6F23-C566-E385-6A80F047ACC8}"/>
          </ac:spMkLst>
        </pc:spChg>
        <pc:spChg chg="del mod">
          <ac:chgData name="Delgado Perez, Kevin Joan" userId="562c2034-40c9-48bd-b698-815edf005a5c" providerId="ADAL" clId="{E9907CB0-64F1-4949-B7BB-B958D73F1FB3}" dt="2024-05-28T19:43:20.878" v="1795" actId="478"/>
          <ac:spMkLst>
            <pc:docMk/>
            <pc:sldMk cId="966376479" sldId="507"/>
            <ac:spMk id="4" creationId="{F08FB232-482A-CED3-4370-277322248203}"/>
          </ac:spMkLst>
        </pc:spChg>
        <pc:spChg chg="add mod">
          <ac:chgData name="Delgado Perez, Kevin Joan" userId="562c2034-40c9-48bd-b698-815edf005a5c" providerId="ADAL" clId="{E9907CB0-64F1-4949-B7BB-B958D73F1FB3}" dt="2024-05-28T20:01:38.424" v="1999" actId="1076"/>
          <ac:spMkLst>
            <pc:docMk/>
            <pc:sldMk cId="966376479" sldId="507"/>
            <ac:spMk id="6" creationId="{F9862A62-3F8B-E2AD-ACB6-CABFE522E533}"/>
          </ac:spMkLst>
        </pc:spChg>
        <pc:spChg chg="add mod">
          <ac:chgData name="Delgado Perez, Kevin Joan" userId="562c2034-40c9-48bd-b698-815edf005a5c" providerId="ADAL" clId="{E9907CB0-64F1-4949-B7BB-B958D73F1FB3}" dt="2024-05-28T20:01:23.912" v="1997" actId="1076"/>
          <ac:spMkLst>
            <pc:docMk/>
            <pc:sldMk cId="966376479" sldId="507"/>
            <ac:spMk id="9" creationId="{876306E0-003B-FCF1-6777-B77337B587C2}"/>
          </ac:spMkLst>
        </pc:spChg>
        <pc:spChg chg="add del mod">
          <ac:chgData name="Delgado Perez, Kevin Joan" userId="562c2034-40c9-48bd-b698-815edf005a5c" providerId="ADAL" clId="{E9907CB0-64F1-4949-B7BB-B958D73F1FB3}" dt="2024-05-28T19:24:44.625" v="1638" actId="478"/>
          <ac:spMkLst>
            <pc:docMk/>
            <pc:sldMk cId="966376479" sldId="507"/>
            <ac:spMk id="16" creationId="{3285C15F-D027-CCC9-A338-C41F3C22DFC5}"/>
          </ac:spMkLst>
        </pc:spChg>
        <pc:spChg chg="add del mod">
          <ac:chgData name="Delgado Perez, Kevin Joan" userId="562c2034-40c9-48bd-b698-815edf005a5c" providerId="ADAL" clId="{E9907CB0-64F1-4949-B7BB-B958D73F1FB3}" dt="2024-05-28T19:43:23.633" v="1796" actId="478"/>
          <ac:spMkLst>
            <pc:docMk/>
            <pc:sldMk cId="966376479" sldId="507"/>
            <ac:spMk id="26" creationId="{6CF91C96-1DEA-B49D-C6EB-59E5F2D3680C}"/>
          </ac:spMkLst>
        </pc:spChg>
        <pc:spChg chg="add mod">
          <ac:chgData name="Delgado Perez, Kevin Joan" userId="562c2034-40c9-48bd-b698-815edf005a5c" providerId="ADAL" clId="{E9907CB0-64F1-4949-B7BB-B958D73F1FB3}" dt="2024-05-28T20:01:09.894" v="1995" actId="571"/>
          <ac:spMkLst>
            <pc:docMk/>
            <pc:sldMk cId="966376479" sldId="507"/>
            <ac:spMk id="36" creationId="{B386EB73-0C9E-9DA1-E0A4-CFF852C323E0}"/>
          </ac:spMkLst>
        </pc:sp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7" creationId="{7BAD83C9-51B0-1605-6444-D884ABFF43ED}"/>
          </ac:graphicFrameMkLst>
        </pc:graphicFrameChg>
        <pc:graphicFrameChg chg="add mod modGraphic">
          <ac:chgData name="Delgado Perez, Kevin Joan" userId="562c2034-40c9-48bd-b698-815edf005a5c" providerId="ADAL" clId="{E9907CB0-64F1-4949-B7BB-B958D73F1FB3}" dt="2024-05-28T19:42:39.215" v="1792" actId="1076"/>
          <ac:graphicFrameMkLst>
            <pc:docMk/>
            <pc:sldMk cId="966376479" sldId="507"/>
            <ac:graphicFrameMk id="8" creationId="{EE316F1F-43CB-E383-3A00-0ECC5795EE32}"/>
          </ac:graphicFrameMkLst>
        </pc:graphicFrameChg>
        <pc:graphicFrameChg chg="add mod modGraphic">
          <ac:chgData name="Delgado Perez, Kevin Joan" userId="562c2034-40c9-48bd-b698-815edf005a5c" providerId="ADAL" clId="{E9907CB0-64F1-4949-B7BB-B958D73F1FB3}" dt="2024-05-28T20:01:52.798" v="2000" actId="1076"/>
          <ac:graphicFrameMkLst>
            <pc:docMk/>
            <pc:sldMk cId="966376479" sldId="507"/>
            <ac:graphicFrameMk id="10" creationId="{B4C1AD43-2C53-CBDF-D614-071FFE32269C}"/>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4" creationId="{74BB708C-BFAB-5B2B-B35E-6D1E3FB0E5C6}"/>
          </ac:graphicFrameMkLst>
        </pc:graphicFrameChg>
        <pc:graphicFrameChg chg="add del mod">
          <ac:chgData name="Delgado Perez, Kevin Joan" userId="562c2034-40c9-48bd-b698-815edf005a5c" providerId="ADAL" clId="{E9907CB0-64F1-4949-B7BB-B958D73F1FB3}" dt="2024-05-27T15:56:59.850" v="909"/>
          <ac:graphicFrameMkLst>
            <pc:docMk/>
            <pc:sldMk cId="966376479" sldId="507"/>
            <ac:graphicFrameMk id="15" creationId="{99F4DED2-A030-A8AD-4470-8B519C631372}"/>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7" creationId="{39229BC4-48E9-AF5A-9505-FF47FB3CDF08}"/>
          </ac:graphicFrameMkLst>
        </pc:graphicFrame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19" creationId="{46E3EBDF-E041-8566-D2D4-69CFEE343FC7}"/>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29" creationId="{7B3A9CD4-2233-A39E-6014-83597FEC152C}"/>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0" creationId="{93DEA56B-9801-FA3E-1CCE-203D7DCE6CA4}"/>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3" creationId="{256B7F36-0521-B5F0-1C1C-96CF5AFFF68B}"/>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4" creationId="{D7745F66-8472-3A7E-10EA-86B9846C011D}"/>
          </ac:graphicFrameMkLst>
        </pc:graphicFrameChg>
        <pc:picChg chg="add del mod">
          <ac:chgData name="Delgado Perez, Kevin Joan" userId="562c2034-40c9-48bd-b698-815edf005a5c" providerId="ADAL" clId="{E9907CB0-64F1-4949-B7BB-B958D73F1FB3}" dt="2024-05-27T15:25:31.038" v="687" actId="478"/>
          <ac:picMkLst>
            <pc:docMk/>
            <pc:sldMk cId="966376479" sldId="507"/>
            <ac:picMk id="6" creationId="{E216094A-49A1-B922-3854-085CD1301942}"/>
          </ac:picMkLst>
        </pc:picChg>
        <pc:cxnChg chg="add mod">
          <ac:chgData name="Delgado Perez, Kevin Joan" userId="562c2034-40c9-48bd-b698-815edf005a5c" providerId="ADAL" clId="{E9907CB0-64F1-4949-B7BB-B958D73F1FB3}" dt="2024-05-28T20:01:18.718" v="1996" actId="1076"/>
          <ac:cxnSpMkLst>
            <pc:docMk/>
            <pc:sldMk cId="966376479" sldId="507"/>
            <ac:cxnSpMk id="12" creationId="{C9DDF849-647F-3DE8-10A9-CC009FCFD204}"/>
          </ac:cxnSpMkLst>
        </pc:cxnChg>
        <pc:cxnChg chg="add mod">
          <ac:chgData name="Delgado Perez, Kevin Joan" userId="562c2034-40c9-48bd-b698-815edf005a5c" providerId="ADAL" clId="{E9907CB0-64F1-4949-B7BB-B958D73F1FB3}" dt="2024-05-28T20:01:29.739" v="1998" actId="1076"/>
          <ac:cxnSpMkLst>
            <pc:docMk/>
            <pc:sldMk cId="966376479" sldId="507"/>
            <ac:cxnSpMk id="13" creationId="{F516647A-82D3-64A8-9C49-17150EB218BD}"/>
          </ac:cxnSpMkLst>
        </pc:cxnChg>
        <pc:cxnChg chg="add mod">
          <ac:chgData name="Delgado Perez, Kevin Joan" userId="562c2034-40c9-48bd-b698-815edf005a5c" providerId="ADAL" clId="{E9907CB0-64F1-4949-B7BB-B958D73F1FB3}" dt="2024-05-28T20:01:18.718" v="1996" actId="1076"/>
          <ac:cxnSpMkLst>
            <pc:docMk/>
            <pc:sldMk cId="966376479" sldId="507"/>
            <ac:cxnSpMk id="18" creationId="{0CCABA69-8159-356E-C507-5FD3E167246D}"/>
          </ac:cxnSpMkLst>
        </pc:cxnChg>
        <pc:cxnChg chg="add mod">
          <ac:chgData name="Delgado Perez, Kevin Joan" userId="562c2034-40c9-48bd-b698-815edf005a5c" providerId="ADAL" clId="{E9907CB0-64F1-4949-B7BB-B958D73F1FB3}" dt="2024-05-28T20:01:09.894" v="1995" actId="571"/>
          <ac:cxnSpMkLst>
            <pc:docMk/>
            <pc:sldMk cId="966376479" sldId="507"/>
            <ac:cxnSpMk id="31" creationId="{18CDBBCE-BB62-64B1-DFE9-727001077849}"/>
          </ac:cxnSpMkLst>
        </pc:cxnChg>
        <pc:cxnChg chg="add mod">
          <ac:chgData name="Delgado Perez, Kevin Joan" userId="562c2034-40c9-48bd-b698-815edf005a5c" providerId="ADAL" clId="{E9907CB0-64F1-4949-B7BB-B958D73F1FB3}" dt="2024-05-28T20:01:09.894" v="1995" actId="571"/>
          <ac:cxnSpMkLst>
            <pc:docMk/>
            <pc:sldMk cId="966376479" sldId="507"/>
            <ac:cxnSpMk id="32" creationId="{0716F657-3910-661E-7742-F7E8407A5097}"/>
          </ac:cxnSpMkLst>
        </pc:cxnChg>
        <pc:cxnChg chg="add mod">
          <ac:chgData name="Delgado Perez, Kevin Joan" userId="562c2034-40c9-48bd-b698-815edf005a5c" providerId="ADAL" clId="{E9907CB0-64F1-4949-B7BB-B958D73F1FB3}" dt="2024-05-28T20:01:09.894" v="1995" actId="571"/>
          <ac:cxnSpMkLst>
            <pc:docMk/>
            <pc:sldMk cId="966376479" sldId="507"/>
            <ac:cxnSpMk id="35" creationId="{6830B91C-4B8F-22CD-C8C2-BD0E4A914468}"/>
          </ac:cxnSpMkLst>
        </pc:cxnChg>
      </pc:sldChg>
      <pc:sldChg chg="addSp delSp modSp del mod modNotes modNotesTx">
        <pc:chgData name="Delgado Perez, Kevin Joan" userId="562c2034-40c9-48bd-b698-815edf005a5c" providerId="ADAL" clId="{E9907CB0-64F1-4949-B7BB-B958D73F1FB3}" dt="2024-06-05T17:53:45.244" v="4013" actId="47"/>
        <pc:sldMkLst>
          <pc:docMk/>
          <pc:sldMk cId="3542634899" sldId="508"/>
        </pc:sldMkLst>
        <pc:spChg chg="del">
          <ac:chgData name="Delgado Perez, Kevin Joan" userId="562c2034-40c9-48bd-b698-815edf005a5c" providerId="ADAL" clId="{E9907CB0-64F1-4949-B7BB-B958D73F1FB3}" dt="2024-05-28T19:24:15.985" v="1636" actId="478"/>
          <ac:spMkLst>
            <pc:docMk/>
            <pc:sldMk cId="3542634899" sldId="508"/>
            <ac:spMk id="2" creationId="{08FFB4A0-F202-E408-C32A-72DBDF9448F7}"/>
          </ac:spMkLst>
        </pc:spChg>
        <pc:spChg chg="mod">
          <ac:chgData name="Delgado Perez, Kevin Joan" userId="562c2034-40c9-48bd-b698-815edf005a5c" providerId="ADAL" clId="{E9907CB0-64F1-4949-B7BB-B958D73F1FB3}" dt="2024-05-28T20:00:26.377" v="1993" actId="20577"/>
          <ac:spMkLst>
            <pc:docMk/>
            <pc:sldMk cId="3542634899" sldId="508"/>
            <ac:spMk id="3" creationId="{49B89635-5B90-4F57-7AFD-3EFB7C8D955B}"/>
          </ac:spMkLst>
        </pc:spChg>
        <pc:spChg chg="mod">
          <ac:chgData name="Delgado Perez, Kevin Joan" userId="562c2034-40c9-48bd-b698-815edf005a5c" providerId="ADAL" clId="{E9907CB0-64F1-4949-B7BB-B958D73F1FB3}" dt="2024-05-27T16:22:00.504" v="1376" actId="1076"/>
          <ac:spMkLst>
            <pc:docMk/>
            <pc:sldMk cId="3542634899" sldId="508"/>
            <ac:spMk id="4" creationId="{745E9222-1341-AE9E-39D8-5FE3EE642AEE}"/>
          </ac:spMkLst>
        </pc:spChg>
        <pc:spChg chg="add del mod">
          <ac:chgData name="Delgado Perez, Kevin Joan" userId="562c2034-40c9-48bd-b698-815edf005a5c" providerId="ADAL" clId="{E9907CB0-64F1-4949-B7BB-B958D73F1FB3}" dt="2024-05-28T19:58:16.019" v="1930" actId="478"/>
          <ac:spMkLst>
            <pc:docMk/>
            <pc:sldMk cId="3542634899" sldId="508"/>
            <ac:spMk id="8" creationId="{A9A051CE-2ECC-14B0-AB34-AC0D66D3001E}"/>
          </ac:spMkLst>
        </pc:spChg>
        <pc:spChg chg="add del">
          <ac:chgData name="Delgado Perez, Kevin Joan" userId="562c2034-40c9-48bd-b698-815edf005a5c" providerId="ADAL" clId="{E9907CB0-64F1-4949-B7BB-B958D73F1FB3}" dt="2024-05-28T19:53:31.704" v="1857" actId="478"/>
          <ac:spMkLst>
            <pc:docMk/>
            <pc:sldMk cId="3542634899" sldId="508"/>
            <ac:spMk id="9" creationId="{B4BD04E4-D4F1-1245-4901-CE045EC16CF0}"/>
          </ac:spMkLst>
        </pc:spChg>
        <pc:spChg chg="add mod">
          <ac:chgData name="Delgado Perez, Kevin Joan" userId="562c2034-40c9-48bd-b698-815edf005a5c" providerId="ADAL" clId="{E9907CB0-64F1-4949-B7BB-B958D73F1FB3}" dt="2024-06-05T17:47:39.826" v="3929" actId="14100"/>
          <ac:spMkLst>
            <pc:docMk/>
            <pc:sldMk cId="3542634899" sldId="508"/>
            <ac:spMk id="10" creationId="{4B985658-8303-ECD2-1519-F6113B64A5EE}"/>
          </ac:spMkLst>
        </pc:spChg>
        <pc:spChg chg="add del mod">
          <ac:chgData name="Delgado Perez, Kevin Joan" userId="562c2034-40c9-48bd-b698-815edf005a5c" providerId="ADAL" clId="{E9907CB0-64F1-4949-B7BB-B958D73F1FB3}" dt="2024-05-28T19:54:41.495" v="1868"/>
          <ac:spMkLst>
            <pc:docMk/>
            <pc:sldMk cId="3542634899" sldId="508"/>
            <ac:spMk id="11" creationId="{89BA38D4-657A-6257-40FF-B91B53286249}"/>
          </ac:spMkLst>
        </pc:spChg>
        <pc:spChg chg="add mod">
          <ac:chgData name="Delgado Perez, Kevin Joan" userId="562c2034-40c9-48bd-b698-815edf005a5c" providerId="ADAL" clId="{E9907CB0-64F1-4949-B7BB-B958D73F1FB3}" dt="2024-06-05T17:48:19.495" v="3934" actId="1076"/>
          <ac:spMkLst>
            <pc:docMk/>
            <pc:sldMk cId="3542634899" sldId="508"/>
            <ac:spMk id="12" creationId="{84008B66-D16B-3AF5-E7C6-40A8943B854C}"/>
          </ac:spMkLst>
        </pc:spChg>
        <pc:spChg chg="del">
          <ac:chgData name="Delgado Perez, Kevin Joan" userId="562c2034-40c9-48bd-b698-815edf005a5c" providerId="ADAL" clId="{E9907CB0-64F1-4949-B7BB-B958D73F1FB3}" dt="2024-05-28T19:24:18.682" v="1637" actId="478"/>
          <ac:spMkLst>
            <pc:docMk/>
            <pc:sldMk cId="3542634899" sldId="508"/>
            <ac:spMk id="68" creationId="{A57BF634-4881-A3B0-EDFE-C77967CAF70C}"/>
          </ac:spMkLst>
        </pc:spChg>
        <pc:graphicFrameChg chg="add del mod modGraphic">
          <ac:chgData name="Delgado Perez, Kevin Joan" userId="562c2034-40c9-48bd-b698-815edf005a5c" providerId="ADAL" clId="{E9907CB0-64F1-4949-B7BB-B958D73F1FB3}" dt="2024-06-05T17:53:27.965" v="4009" actId="478"/>
          <ac:graphicFrameMkLst>
            <pc:docMk/>
            <pc:sldMk cId="3542634899" sldId="508"/>
            <ac:graphicFrameMk id="5" creationId="{AEB9DB45-59B8-511E-9413-C4C25B5DDCE0}"/>
          </ac:graphicFrameMkLst>
        </pc:graphicFrameChg>
        <pc:graphicFrameChg chg="add mod modGraphic">
          <ac:chgData name="Delgado Perez, Kevin Joan" userId="562c2034-40c9-48bd-b698-815edf005a5c" providerId="ADAL" clId="{E9907CB0-64F1-4949-B7BB-B958D73F1FB3}" dt="2024-05-28T19:49:23.027" v="1846" actId="1076"/>
          <ac:graphicFrameMkLst>
            <pc:docMk/>
            <pc:sldMk cId="3542634899" sldId="508"/>
            <ac:graphicFrameMk id="6" creationId="{65187CCB-9798-136F-6BFB-167709FB14CC}"/>
          </ac:graphicFrameMkLst>
        </pc:graphicFrameChg>
        <pc:cxnChg chg="add del">
          <ac:chgData name="Delgado Perez, Kevin Joan" userId="562c2034-40c9-48bd-b698-815edf005a5c" providerId="ADAL" clId="{E9907CB0-64F1-4949-B7BB-B958D73F1FB3}" dt="2024-05-28T19:58:40.515" v="1933" actId="11529"/>
          <ac:cxnSpMkLst>
            <pc:docMk/>
            <pc:sldMk cId="3542634899" sldId="508"/>
            <ac:cxnSpMk id="14" creationId="{331D1A4B-52AC-F774-56CC-8DEC5E4A5746}"/>
          </ac:cxnSpMkLst>
        </pc:cxnChg>
        <pc:cxnChg chg="add mod">
          <ac:chgData name="Delgado Perez, Kevin Joan" userId="562c2034-40c9-48bd-b698-815edf005a5c" providerId="ADAL" clId="{E9907CB0-64F1-4949-B7BB-B958D73F1FB3}" dt="2024-05-28T19:59:41.040" v="1940" actId="1076"/>
          <ac:cxnSpMkLst>
            <pc:docMk/>
            <pc:sldMk cId="3542634899" sldId="508"/>
            <ac:cxnSpMk id="15" creationId="{98465C0D-90DD-0CD7-CBC4-B522E87A2601}"/>
          </ac:cxnSpMkLst>
        </pc:cxnChg>
      </pc:sldChg>
      <pc:sldChg chg="modNotes">
        <pc:chgData name="Delgado Perez, Kevin Joan" userId="562c2034-40c9-48bd-b698-815edf005a5c" providerId="ADAL" clId="{E9907CB0-64F1-4949-B7BB-B958D73F1FB3}" dt="2024-05-24T16:08:51.562" v="653" actId="27636"/>
        <pc:sldMkLst>
          <pc:docMk/>
          <pc:sldMk cId="3929932632" sldId="509"/>
        </pc:sldMkLst>
      </pc:sldChg>
      <pc:sldChg chg="addSp delSp modSp new mod">
        <pc:chgData name="Delgado Perez, Kevin Joan" userId="562c2034-40c9-48bd-b698-815edf005a5c" providerId="ADAL" clId="{E9907CB0-64F1-4949-B7BB-B958D73F1FB3}" dt="2024-05-27T16:23:25.791" v="1409" actId="790"/>
        <pc:sldMkLst>
          <pc:docMk/>
          <pc:sldMk cId="3042953501" sldId="516"/>
        </pc:sldMkLst>
        <pc:spChg chg="mod">
          <ac:chgData name="Delgado Perez, Kevin Joan" userId="562c2034-40c9-48bd-b698-815edf005a5c" providerId="ADAL" clId="{E9907CB0-64F1-4949-B7BB-B958D73F1FB3}" dt="2024-05-27T16:20:14.387" v="1366" actId="20577"/>
          <ac:spMkLst>
            <pc:docMk/>
            <pc:sldMk cId="3042953501" sldId="516"/>
            <ac:spMk id="2" creationId="{8941BB55-9918-2D12-0D56-CD70A0304529}"/>
          </ac:spMkLst>
        </pc:spChg>
        <pc:spChg chg="mod">
          <ac:chgData name="Delgado Perez, Kevin Joan" userId="562c2034-40c9-48bd-b698-815edf005a5c" providerId="ADAL" clId="{E9907CB0-64F1-4949-B7BB-B958D73F1FB3}" dt="2024-05-27T16:23:25.791" v="1409" actId="790"/>
          <ac:spMkLst>
            <pc:docMk/>
            <pc:sldMk cId="3042953501" sldId="516"/>
            <ac:spMk id="3" creationId="{7DCBD7A3-7F44-B43C-9DF2-C2E8770D7406}"/>
          </ac:spMkLst>
        </pc:spChg>
        <pc:spChg chg="add del mod">
          <ac:chgData name="Delgado Perez, Kevin Joan" userId="562c2034-40c9-48bd-b698-815edf005a5c" providerId="ADAL" clId="{E9907CB0-64F1-4949-B7BB-B958D73F1FB3}" dt="2024-05-27T16:14:58.501" v="1137"/>
          <ac:spMkLst>
            <pc:docMk/>
            <pc:sldMk cId="3042953501" sldId="516"/>
            <ac:spMk id="5" creationId="{070BE87A-D4ED-AEF8-B415-ECED2CA68C9D}"/>
          </ac:spMkLst>
        </pc:spChg>
      </pc:sldChg>
      <pc:sldChg chg="addSp delSp modSp new del mod">
        <pc:chgData name="Delgado Perez, Kevin Joan" userId="562c2034-40c9-48bd-b698-815edf005a5c" providerId="ADAL" clId="{E9907CB0-64F1-4949-B7BB-B958D73F1FB3}" dt="2024-05-28T19:45:29.110" v="1837" actId="47"/>
        <pc:sldMkLst>
          <pc:docMk/>
          <pc:sldMk cId="1232373434" sldId="518"/>
        </pc:sldMkLst>
        <pc:spChg chg="del">
          <ac:chgData name="Delgado Perez, Kevin Joan" userId="562c2034-40c9-48bd-b698-815edf005a5c" providerId="ADAL" clId="{E9907CB0-64F1-4949-B7BB-B958D73F1FB3}" dt="2024-05-28T19:27:04.719" v="1660" actId="478"/>
          <ac:spMkLst>
            <pc:docMk/>
            <pc:sldMk cId="1232373434" sldId="518"/>
            <ac:spMk id="2" creationId="{3937B623-F10C-87D3-FC90-4AF16FC77737}"/>
          </ac:spMkLst>
        </pc:spChg>
        <pc:spChg chg="del">
          <ac:chgData name="Delgado Perez, Kevin Joan" userId="562c2034-40c9-48bd-b698-815edf005a5c" providerId="ADAL" clId="{E9907CB0-64F1-4949-B7BB-B958D73F1FB3}" dt="2024-05-28T19:27:06.894" v="1661" actId="478"/>
          <ac:spMkLst>
            <pc:docMk/>
            <pc:sldMk cId="1232373434" sldId="518"/>
            <ac:spMk id="3" creationId="{59217DC1-7F82-99DC-4088-8603C54DB9A2}"/>
          </ac:spMkLst>
        </pc:spChg>
        <pc:spChg chg="del">
          <ac:chgData name="Delgado Perez, Kevin Joan" userId="562c2034-40c9-48bd-b698-815edf005a5c" providerId="ADAL" clId="{E9907CB0-64F1-4949-B7BB-B958D73F1FB3}" dt="2024-05-28T19:27:08.975" v="1662" actId="478"/>
          <ac:spMkLst>
            <pc:docMk/>
            <pc:sldMk cId="1232373434" sldId="518"/>
            <ac:spMk id="4" creationId="{5685350A-CA7D-6DE6-BB76-A4785CE15244}"/>
          </ac:spMkLst>
        </pc:spChg>
        <pc:spChg chg="add mod">
          <ac:chgData name="Delgado Perez, Kevin Joan" userId="562c2034-40c9-48bd-b698-815edf005a5c" providerId="ADAL" clId="{E9907CB0-64F1-4949-B7BB-B958D73F1FB3}" dt="2024-05-28T19:43:06.667" v="1793" actId="1076"/>
          <ac:spMkLst>
            <pc:docMk/>
            <pc:sldMk cId="1232373434" sldId="518"/>
            <ac:spMk id="6" creationId="{7D56C414-4943-066A-93FC-387D93CA8CE8}"/>
          </ac:spMkLst>
        </pc:spChg>
        <pc:spChg chg="add mod">
          <ac:chgData name="Delgado Perez, Kevin Joan" userId="562c2034-40c9-48bd-b698-815edf005a5c" providerId="ADAL" clId="{E9907CB0-64F1-4949-B7BB-B958D73F1FB3}" dt="2024-05-28T19:44:12.039" v="1822" actId="20577"/>
          <ac:spMkLst>
            <pc:docMk/>
            <pc:sldMk cId="1232373434" sldId="518"/>
            <ac:spMk id="18" creationId="{BE05C696-D2DF-4424-EBA9-7F37C61455F3}"/>
          </ac:spMkLst>
        </pc:spChg>
        <pc:spChg chg="add del mod">
          <ac:chgData name="Delgado Perez, Kevin Joan" userId="562c2034-40c9-48bd-b698-815edf005a5c" providerId="ADAL" clId="{E9907CB0-64F1-4949-B7BB-B958D73F1FB3}" dt="2024-05-28T19:43:26.581" v="1799"/>
          <ac:spMkLst>
            <pc:docMk/>
            <pc:sldMk cId="1232373434" sldId="518"/>
            <ac:spMk id="19" creationId="{B4F83D0F-B5B7-C201-D914-899661831ECF}"/>
          </ac:spMkLst>
        </pc:spChg>
        <pc:graphicFrameChg chg="add mod">
          <ac:chgData name="Delgado Perez, Kevin Joan" userId="562c2034-40c9-48bd-b698-815edf005a5c" providerId="ADAL" clId="{E9907CB0-64F1-4949-B7BB-B958D73F1FB3}" dt="2024-05-28T19:43:06.667" v="1793" actId="1076"/>
          <ac:graphicFrameMkLst>
            <pc:docMk/>
            <pc:sldMk cId="1232373434" sldId="518"/>
            <ac:graphicFrameMk id="5" creationId="{449E5160-77B3-DB9B-A511-867B2DA86883}"/>
          </ac:graphicFrameMkLst>
        </pc:graphicFrameChg>
        <pc:graphicFrameChg chg="add mod">
          <ac:chgData name="Delgado Perez, Kevin Joan" userId="562c2034-40c9-48bd-b698-815edf005a5c" providerId="ADAL" clId="{E9907CB0-64F1-4949-B7BB-B958D73F1FB3}" dt="2024-05-28T19:43:06.667" v="1793" actId="1076"/>
          <ac:graphicFrameMkLst>
            <pc:docMk/>
            <pc:sldMk cId="1232373434" sldId="518"/>
            <ac:graphicFrameMk id="7" creationId="{C6DB60C4-4886-B1FC-185C-E4A8682D8E71}"/>
          </ac:graphicFrameMkLst>
        </pc:graphicFrameChg>
        <pc:cxnChg chg="add mod">
          <ac:chgData name="Delgado Perez, Kevin Joan" userId="562c2034-40c9-48bd-b698-815edf005a5c" providerId="ADAL" clId="{E9907CB0-64F1-4949-B7BB-B958D73F1FB3}" dt="2024-05-28T19:43:06.667" v="1793" actId="1076"/>
          <ac:cxnSpMkLst>
            <pc:docMk/>
            <pc:sldMk cId="1232373434" sldId="518"/>
            <ac:cxnSpMk id="8" creationId="{A8349C7E-2119-F302-6047-D2DCC6CFEB35}"/>
          </ac:cxnSpMkLst>
        </pc:cxnChg>
        <pc:cxnChg chg="add mod">
          <ac:chgData name="Delgado Perez, Kevin Joan" userId="562c2034-40c9-48bd-b698-815edf005a5c" providerId="ADAL" clId="{E9907CB0-64F1-4949-B7BB-B958D73F1FB3}" dt="2024-05-28T19:43:06.667" v="1793" actId="1076"/>
          <ac:cxnSpMkLst>
            <pc:docMk/>
            <pc:sldMk cId="1232373434" sldId="518"/>
            <ac:cxnSpMk id="9" creationId="{A4BF397A-786D-EA56-68A1-A2FE41924096}"/>
          </ac:cxnSpMkLst>
        </pc:cxnChg>
        <pc:cxnChg chg="add mod">
          <ac:chgData name="Delgado Perez, Kevin Joan" userId="562c2034-40c9-48bd-b698-815edf005a5c" providerId="ADAL" clId="{E9907CB0-64F1-4949-B7BB-B958D73F1FB3}" dt="2024-05-28T19:43:06.667" v="1793" actId="1076"/>
          <ac:cxnSpMkLst>
            <pc:docMk/>
            <pc:sldMk cId="1232373434" sldId="518"/>
            <ac:cxnSpMk id="12" creationId="{E3C2DB68-422A-A71A-D06C-7C1997C455A7}"/>
          </ac:cxnSpMkLst>
        </pc:cxnChg>
        <pc:cxnChg chg="add mod">
          <ac:chgData name="Delgado Perez, Kevin Joan" userId="562c2034-40c9-48bd-b698-815edf005a5c" providerId="ADAL" clId="{E9907CB0-64F1-4949-B7BB-B958D73F1FB3}" dt="2024-05-28T19:43:12.730" v="1794"/>
          <ac:cxnSpMkLst>
            <pc:docMk/>
            <pc:sldMk cId="1232373434" sldId="518"/>
            <ac:cxnSpMk id="17" creationId="{69A117BD-21C3-8632-A974-34072AB35FFE}"/>
          </ac:cxnSpMkLst>
        </pc:cxnChg>
      </pc:sldChg>
      <pc:sldChg chg="addSp delSp modSp new mod modClrScheme chgLayout modNotes modNotesTx">
        <pc:chgData name="Delgado Perez, Kevin Joan" userId="562c2034-40c9-48bd-b698-815edf005a5c" providerId="ADAL" clId="{E9907CB0-64F1-4949-B7BB-B958D73F1FB3}" dt="2024-06-06T18:21:29.511" v="4035" actId="20577"/>
        <pc:sldMkLst>
          <pc:docMk/>
          <pc:sldMk cId="594588136" sldId="524"/>
        </pc:sldMkLst>
        <pc:spChg chg="del">
          <ac:chgData name="Delgado Perez, Kevin Joan" userId="562c2034-40c9-48bd-b698-815edf005a5c" providerId="ADAL" clId="{E9907CB0-64F1-4949-B7BB-B958D73F1FB3}" dt="2024-06-05T17:50:02.330" v="3963" actId="478"/>
          <ac:spMkLst>
            <pc:docMk/>
            <pc:sldMk cId="594588136" sldId="524"/>
            <ac:spMk id="2" creationId="{0ED9A7AC-7490-7C32-8266-B52AD7472284}"/>
          </ac:spMkLst>
        </pc:spChg>
        <pc:spChg chg="del">
          <ac:chgData name="Delgado Perez, Kevin Joan" userId="562c2034-40c9-48bd-b698-815edf005a5c" providerId="ADAL" clId="{E9907CB0-64F1-4949-B7BB-B958D73F1FB3}" dt="2024-06-05T17:50:04.349" v="3964" actId="478"/>
          <ac:spMkLst>
            <pc:docMk/>
            <pc:sldMk cId="594588136" sldId="524"/>
            <ac:spMk id="3" creationId="{8B0A0A64-8C9B-462D-2253-270A05A51883}"/>
          </ac:spMkLst>
        </pc:spChg>
        <pc:spChg chg="del">
          <ac:chgData name="Delgado Perez, Kevin Joan" userId="562c2034-40c9-48bd-b698-815edf005a5c" providerId="ADAL" clId="{E9907CB0-64F1-4949-B7BB-B958D73F1FB3}" dt="2024-06-05T17:48:48.113" v="3937" actId="478"/>
          <ac:spMkLst>
            <pc:docMk/>
            <pc:sldMk cId="594588136" sldId="524"/>
            <ac:spMk id="4" creationId="{18F0A9F2-71C6-032F-4715-D5878C6263C8}"/>
          </ac:spMkLst>
        </pc:spChg>
        <pc:spChg chg="add mod">
          <ac:chgData name="Delgado Perez, Kevin Joan" userId="562c2034-40c9-48bd-b698-815edf005a5c" providerId="ADAL" clId="{E9907CB0-64F1-4949-B7BB-B958D73F1FB3}" dt="2024-06-05T17:51:45.548" v="3990" actId="21"/>
          <ac:spMkLst>
            <pc:docMk/>
            <pc:sldMk cId="594588136" sldId="524"/>
            <ac:spMk id="7" creationId="{775A9004-69B5-D8F2-90B0-F3FAE372CCB9}"/>
          </ac:spMkLst>
        </pc:spChg>
        <pc:spChg chg="add mod">
          <ac:chgData name="Delgado Perez, Kevin Joan" userId="562c2034-40c9-48bd-b698-815edf005a5c" providerId="ADAL" clId="{E9907CB0-64F1-4949-B7BB-B958D73F1FB3}" dt="2024-06-06T18:20:47.101" v="4033" actId="1582"/>
          <ac:spMkLst>
            <pc:docMk/>
            <pc:sldMk cId="594588136" sldId="524"/>
            <ac:spMk id="8" creationId="{31381D0C-541E-9C18-14B4-48FBC53ADA53}"/>
          </ac:spMkLst>
        </pc:spChg>
        <pc:spChg chg="add mod">
          <ac:chgData name="Delgado Perez, Kevin Joan" userId="562c2034-40c9-48bd-b698-815edf005a5c" providerId="ADAL" clId="{E9907CB0-64F1-4949-B7BB-B958D73F1FB3}" dt="2024-06-06T18:20:37.967" v="4032" actId="1076"/>
          <ac:spMkLst>
            <pc:docMk/>
            <pc:sldMk cId="594588136" sldId="524"/>
            <ac:spMk id="9" creationId="{344E61DA-94B5-F8A3-2F37-24C277E4A0BA}"/>
          </ac:spMkLst>
        </pc:spChg>
        <pc:spChg chg="add del">
          <ac:chgData name="Delgado Perez, Kevin Joan" userId="562c2034-40c9-48bd-b698-815edf005a5c" providerId="ADAL" clId="{E9907CB0-64F1-4949-B7BB-B958D73F1FB3}" dt="2024-06-05T17:50:30.411" v="3969" actId="26606"/>
          <ac:spMkLst>
            <pc:docMk/>
            <pc:sldMk cId="594588136" sldId="524"/>
            <ac:spMk id="11" creationId="{871645E0-51FC-B86D-72CA-F94DF3CB789C}"/>
          </ac:spMkLst>
        </pc:spChg>
        <pc:spChg chg="add mod">
          <ac:chgData name="Delgado Perez, Kevin Joan" userId="562c2034-40c9-48bd-b698-815edf005a5c" providerId="ADAL" clId="{E9907CB0-64F1-4949-B7BB-B958D73F1FB3}" dt="2024-06-05T17:53:33.812" v="4010"/>
          <ac:spMkLst>
            <pc:docMk/>
            <pc:sldMk cId="594588136" sldId="524"/>
            <ac:spMk id="12" creationId="{0006B762-9D5D-E69D-ADB1-6519451001F2}"/>
          </ac:spMkLst>
        </pc:spChg>
        <pc:spChg chg="add del">
          <ac:chgData name="Delgado Perez, Kevin Joan" userId="562c2034-40c9-48bd-b698-815edf005a5c" providerId="ADAL" clId="{E9907CB0-64F1-4949-B7BB-B958D73F1FB3}" dt="2024-06-05T17:50:30.411" v="3969" actId="26606"/>
          <ac:spMkLst>
            <pc:docMk/>
            <pc:sldMk cId="594588136" sldId="524"/>
            <ac:spMk id="13" creationId="{AE47206C-3015-E867-B024-5CD4859932DA}"/>
          </ac:spMkLst>
        </pc:spChg>
        <pc:spChg chg="add del mod">
          <ac:chgData name="Delgado Perez, Kevin Joan" userId="562c2034-40c9-48bd-b698-815edf005a5c" providerId="ADAL" clId="{E9907CB0-64F1-4949-B7BB-B958D73F1FB3}" dt="2024-06-05T17:53:41.998" v="4012" actId="478"/>
          <ac:spMkLst>
            <pc:docMk/>
            <pc:sldMk cId="594588136" sldId="524"/>
            <ac:spMk id="16" creationId="{58CCA213-7CB6-2496-0C1D-1A3F343DC65F}"/>
          </ac:spMkLst>
        </pc:spChg>
        <pc:spChg chg="add del mod">
          <ac:chgData name="Delgado Perez, Kevin Joan" userId="562c2034-40c9-48bd-b698-815edf005a5c" providerId="ADAL" clId="{E9907CB0-64F1-4949-B7BB-B958D73F1FB3}" dt="2024-06-05T17:50:30.340" v="3968" actId="26606"/>
          <ac:spMkLst>
            <pc:docMk/>
            <pc:sldMk cId="594588136" sldId="524"/>
            <ac:spMk id="18" creationId="{3CB5EA70-6BCF-92B0-542B-F6746748DBF7}"/>
          </ac:spMkLst>
        </pc:spChg>
        <pc:spChg chg="add del mod">
          <ac:chgData name="Delgado Perez, Kevin Joan" userId="562c2034-40c9-48bd-b698-815edf005a5c" providerId="ADAL" clId="{E9907CB0-64F1-4949-B7BB-B958D73F1FB3}" dt="2024-06-05T17:50:30.340" v="3968" actId="26606"/>
          <ac:spMkLst>
            <pc:docMk/>
            <pc:sldMk cId="594588136" sldId="524"/>
            <ac:spMk id="20" creationId="{927A7CB6-A250-1A39-65CC-BD6CB4801108}"/>
          </ac:spMkLst>
        </pc:spChg>
        <pc:spChg chg="add del mod">
          <ac:chgData name="Delgado Perez, Kevin Joan" userId="562c2034-40c9-48bd-b698-815edf005a5c" providerId="ADAL" clId="{E9907CB0-64F1-4949-B7BB-B958D73F1FB3}" dt="2024-06-05T17:50:30.340" v="3968" actId="26606"/>
          <ac:spMkLst>
            <pc:docMk/>
            <pc:sldMk cId="594588136" sldId="524"/>
            <ac:spMk id="22" creationId="{100C780B-9D22-ACE5-B631-F76D798323A2}"/>
          </ac:spMkLst>
        </pc:spChg>
        <pc:spChg chg="add del mod">
          <ac:chgData name="Delgado Perez, Kevin Joan" userId="562c2034-40c9-48bd-b698-815edf005a5c" providerId="ADAL" clId="{E9907CB0-64F1-4949-B7BB-B958D73F1FB3}" dt="2024-06-05T17:53:37.610" v="4011" actId="478"/>
          <ac:spMkLst>
            <pc:docMk/>
            <pc:sldMk cId="594588136" sldId="524"/>
            <ac:spMk id="24" creationId="{40169583-4864-4FB8-55C5-F715FC8B7F26}"/>
          </ac:spMkLst>
        </pc:spChg>
        <pc:spChg chg="add del">
          <ac:chgData name="Delgado Perez, Kevin Joan" userId="562c2034-40c9-48bd-b698-815edf005a5c" providerId="ADAL" clId="{E9907CB0-64F1-4949-B7BB-B958D73F1FB3}" dt="2024-06-05T17:51:34.910" v="3989" actId="26606"/>
          <ac:spMkLst>
            <pc:docMk/>
            <pc:sldMk cId="594588136" sldId="524"/>
            <ac:spMk id="25" creationId="{6129FDF2-2233-65DF-9962-D1D47AF51D54}"/>
          </ac:spMkLst>
        </pc:spChg>
        <pc:graphicFrameChg chg="add del mod">
          <ac:chgData name="Delgado Perez, Kevin Joan" userId="562c2034-40c9-48bd-b698-815edf005a5c" providerId="ADAL" clId="{E9907CB0-64F1-4949-B7BB-B958D73F1FB3}" dt="2024-06-05T17:49:55.756" v="3962" actId="478"/>
          <ac:graphicFrameMkLst>
            <pc:docMk/>
            <pc:sldMk cId="594588136" sldId="524"/>
            <ac:graphicFrameMk id="5" creationId="{FD2FF57E-8410-4138-1C0B-5DABB4F465BC}"/>
          </ac:graphicFrameMkLst>
        </pc:graphicFrameChg>
        <pc:graphicFrameChg chg="add mod ord modGraphic">
          <ac:chgData name="Delgado Perez, Kevin Joan" userId="562c2034-40c9-48bd-b698-815edf005a5c" providerId="ADAL" clId="{E9907CB0-64F1-4949-B7BB-B958D73F1FB3}" dt="2024-06-06T18:14:54.854" v="4020"/>
          <ac:graphicFrameMkLst>
            <pc:docMk/>
            <pc:sldMk cId="594588136" sldId="524"/>
            <ac:graphicFrameMk id="6" creationId="{FE501BDD-E1FD-878D-87F8-B2AB331D2EB5}"/>
          </ac:graphicFrameMkLst>
        </pc:graphicFrameChg>
        <pc:cxnChg chg="add mod">
          <ac:chgData name="Delgado Perez, Kevin Joan" userId="562c2034-40c9-48bd-b698-815edf005a5c" providerId="ADAL" clId="{E9907CB0-64F1-4949-B7BB-B958D73F1FB3}" dt="2024-06-06T18:20:08.089" v="4026" actId="1076"/>
          <ac:cxnSpMkLst>
            <pc:docMk/>
            <pc:sldMk cId="594588136" sldId="524"/>
            <ac:cxnSpMk id="10" creationId="{F99D3FFB-405E-1508-D6AB-3E3C57862761}"/>
          </ac:cxnSpMkLst>
        </pc:cxnChg>
        <pc:cxnChg chg="add mod">
          <ac:chgData name="Delgado Perez, Kevin Joan" userId="562c2034-40c9-48bd-b698-815edf005a5c" providerId="ADAL" clId="{E9907CB0-64F1-4949-B7BB-B958D73F1FB3}" dt="2024-06-05T17:53:33.812" v="4010"/>
          <ac:cxnSpMkLst>
            <pc:docMk/>
            <pc:sldMk cId="594588136" sldId="524"/>
            <ac:cxnSpMk id="14" creationId="{D26A1FDE-7B56-6BFE-A0B9-2E4C86712436}"/>
          </ac:cxnSpMkLst>
        </pc:cxnChg>
      </pc:sldChg>
    </pc:docChg>
  </pc:docChgLst>
  <pc:docChgLst>
    <pc:chgData name="Chavarria, Nicole" userId="S::nchavarria@deloitte.com::59465f16-f52e-4fac-9696-8351220b84a8" providerId="AD" clId="Web-{12BDBB14-EB90-466B-9484-9735CC7FF203}"/>
    <pc:docChg chg="delSld modSld">
      <pc:chgData name="Chavarria, Nicole" userId="S::nchavarria@deloitte.com::59465f16-f52e-4fac-9696-8351220b84a8" providerId="AD" clId="Web-{12BDBB14-EB90-466B-9484-9735CC7FF203}" dt="2024-05-17T15:28:11.781" v="238"/>
      <pc:docMkLst>
        <pc:docMk/>
      </pc:docMkLst>
      <pc:sldChg chg="modSp">
        <pc:chgData name="Chavarria, Nicole" userId="S::nchavarria@deloitte.com::59465f16-f52e-4fac-9696-8351220b84a8" providerId="AD" clId="Web-{12BDBB14-EB90-466B-9484-9735CC7FF203}" dt="2024-05-17T15:20:36.637" v="44" actId="20577"/>
        <pc:sldMkLst>
          <pc:docMk/>
          <pc:sldMk cId="153350407" sldId="377"/>
        </pc:sldMkLst>
        <pc:spChg chg="mod">
          <ac:chgData name="Chavarria, Nicole" userId="S::nchavarria@deloitte.com::59465f16-f52e-4fac-9696-8351220b84a8" providerId="AD" clId="Web-{12BDBB14-EB90-466B-9484-9735CC7FF203}" dt="2024-05-17T15:20:23.871" v="37" actId="20577"/>
          <ac:spMkLst>
            <pc:docMk/>
            <pc:sldMk cId="153350407" sldId="377"/>
            <ac:spMk id="21" creationId="{00000000-0000-0000-0000-000000000000}"/>
          </ac:spMkLst>
        </pc:spChg>
        <pc:spChg chg="mod">
          <ac:chgData name="Chavarria, Nicole" userId="S::nchavarria@deloitte.com::59465f16-f52e-4fac-9696-8351220b84a8" providerId="AD" clId="Web-{12BDBB14-EB90-466B-9484-9735CC7FF203}" dt="2024-05-17T15:19:39.760" v="20" actId="20577"/>
          <ac:spMkLst>
            <pc:docMk/>
            <pc:sldMk cId="153350407" sldId="377"/>
            <ac:spMk id="27" creationId="{00000000-0000-0000-0000-000000000000}"/>
          </ac:spMkLst>
        </pc:spChg>
        <pc:spChg chg="mod">
          <ac:chgData name="Chavarria, Nicole" userId="S::nchavarria@deloitte.com::59465f16-f52e-4fac-9696-8351220b84a8" providerId="AD" clId="Web-{12BDBB14-EB90-466B-9484-9735CC7FF203}" dt="2024-05-17T15:19:56.886" v="27" actId="20577"/>
          <ac:spMkLst>
            <pc:docMk/>
            <pc:sldMk cId="153350407" sldId="377"/>
            <ac:spMk id="29" creationId="{00000000-0000-0000-0000-000000000000}"/>
          </ac:spMkLst>
        </pc:spChg>
        <pc:spChg chg="mod">
          <ac:chgData name="Chavarria, Nicole" userId="S::nchavarria@deloitte.com::59465f16-f52e-4fac-9696-8351220b84a8" providerId="AD" clId="Web-{12BDBB14-EB90-466B-9484-9735CC7FF203}" dt="2024-05-17T15:20:36.637" v="44" actId="20577"/>
          <ac:spMkLst>
            <pc:docMk/>
            <pc:sldMk cId="153350407" sldId="377"/>
            <ac:spMk id="30" creationId="{00000000-0000-0000-0000-000000000000}"/>
          </ac:spMkLst>
        </pc:spChg>
      </pc:sldChg>
      <pc:sldChg chg="del">
        <pc:chgData name="Chavarria, Nicole" userId="S::nchavarria@deloitte.com::59465f16-f52e-4fac-9696-8351220b84a8" providerId="AD" clId="Web-{12BDBB14-EB90-466B-9484-9735CC7FF203}" dt="2024-05-17T15:28:11.781" v="238"/>
        <pc:sldMkLst>
          <pc:docMk/>
          <pc:sldMk cId="2379442311" sldId="448"/>
        </pc:sldMkLst>
      </pc:sldChg>
      <pc:sldChg chg="modSp">
        <pc:chgData name="Chavarria, Nicole" userId="S::nchavarria@deloitte.com::59465f16-f52e-4fac-9696-8351220b84a8" providerId="AD" clId="Web-{12BDBB14-EB90-466B-9484-9735CC7FF203}" dt="2024-05-17T15:28:03.281" v="237"/>
        <pc:sldMkLst>
          <pc:docMk/>
          <pc:sldMk cId="2966844647" sldId="493"/>
        </pc:sldMkLst>
        <pc:graphicFrameChg chg="mod modGraphic">
          <ac:chgData name="Chavarria, Nicole" userId="S::nchavarria@deloitte.com::59465f16-f52e-4fac-9696-8351220b84a8" providerId="AD" clId="Web-{12BDBB14-EB90-466B-9484-9735CC7FF203}" dt="2024-05-17T15:24:33.897" v="134"/>
          <ac:graphicFrameMkLst>
            <pc:docMk/>
            <pc:sldMk cId="2966844647" sldId="493"/>
            <ac:graphicFrameMk id="4" creationId="{DC25785E-65FF-DDAA-B392-44740F9C1742}"/>
          </ac:graphicFrameMkLst>
        </pc:graphicFrameChg>
        <pc:graphicFrameChg chg="mod modGraphic">
          <ac:chgData name="Chavarria, Nicole" userId="S::nchavarria@deloitte.com::59465f16-f52e-4fac-9696-8351220b84a8" providerId="AD" clId="Web-{12BDBB14-EB90-466B-9484-9735CC7FF203}" dt="2024-05-17T15:26:11.307" v="223"/>
          <ac:graphicFrameMkLst>
            <pc:docMk/>
            <pc:sldMk cId="2966844647" sldId="493"/>
            <ac:graphicFrameMk id="5" creationId="{B6DB7302-9BFF-FA8B-EB90-1A463C45BD80}"/>
          </ac:graphicFrameMkLst>
        </pc:graphicFrameChg>
        <pc:graphicFrameChg chg="mod modGraphic">
          <ac:chgData name="Chavarria, Nicole" userId="S::nchavarria@deloitte.com::59465f16-f52e-4fac-9696-8351220b84a8" providerId="AD" clId="Web-{12BDBB14-EB90-466B-9484-9735CC7FF203}" dt="2024-05-17T15:25:44.541" v="220"/>
          <ac:graphicFrameMkLst>
            <pc:docMk/>
            <pc:sldMk cId="2966844647" sldId="493"/>
            <ac:graphicFrameMk id="7" creationId="{3B0C6FD2-6FE9-6B07-5F93-0F7B3FD967ED}"/>
          </ac:graphicFrameMkLst>
        </pc:graphicFrameChg>
        <pc:graphicFrameChg chg="mod modGraphic">
          <ac:chgData name="Chavarria, Nicole" userId="S::nchavarria@deloitte.com::59465f16-f52e-4fac-9696-8351220b84a8" providerId="AD" clId="Web-{12BDBB14-EB90-466B-9484-9735CC7FF203}" dt="2024-05-17T15:27:03.184" v="229"/>
          <ac:graphicFrameMkLst>
            <pc:docMk/>
            <pc:sldMk cId="2966844647" sldId="493"/>
            <ac:graphicFrameMk id="11" creationId="{3392EC7E-1918-F37D-CDA9-16C229A619EF}"/>
          </ac:graphicFrameMkLst>
        </pc:graphicFrameChg>
        <pc:graphicFrameChg chg="mod modGraphic">
          <ac:chgData name="Chavarria, Nicole" userId="S::nchavarria@deloitte.com::59465f16-f52e-4fac-9696-8351220b84a8" providerId="AD" clId="Web-{12BDBB14-EB90-466B-9484-9735CC7FF203}" dt="2024-05-17T15:28:03.281" v="237"/>
          <ac:graphicFrameMkLst>
            <pc:docMk/>
            <pc:sldMk cId="2966844647" sldId="493"/>
            <ac:graphicFrameMk id="12" creationId="{0D8E0659-F95F-40D2-46E5-F9B72F8385AD}"/>
          </ac:graphicFrameMkLst>
        </pc:graphicFrameChg>
      </pc:sldChg>
    </pc:docChg>
  </pc:docChgLst>
  <pc:docChgLst>
    <pc:chgData name="Mercado, Andrea Marisol" userId="S::andmercado@deloitte.com::86282f0d-01fd-4acc-9387-9717b48c3e5d" providerId="AD" clId="Web-{D95CF5D5-6D6D-2022-F7A8-190CA705CD4B}"/>
    <pc:docChg chg="delSld modSld sldOrd">
      <pc:chgData name="Mercado, Andrea Marisol" userId="S::andmercado@deloitte.com::86282f0d-01fd-4acc-9387-9717b48c3e5d" providerId="AD" clId="Web-{D95CF5D5-6D6D-2022-F7A8-190CA705CD4B}" dt="2024-05-28T19:44:12.331" v="466" actId="1076"/>
      <pc:docMkLst>
        <pc:docMk/>
      </pc:docMkLst>
      <pc:sldChg chg="modSp">
        <pc:chgData name="Mercado, Andrea Marisol" userId="S::andmercado@deloitte.com::86282f0d-01fd-4acc-9387-9717b48c3e5d" providerId="AD" clId="Web-{D95CF5D5-6D6D-2022-F7A8-190CA705CD4B}" dt="2024-05-28T19:14:57.891" v="409"/>
        <pc:sldMkLst>
          <pc:docMk/>
          <pc:sldMk cId="153350407" sldId="377"/>
        </pc:sldMkLst>
        <pc:spChg chg="mod">
          <ac:chgData name="Mercado, Andrea Marisol" userId="S::andmercado@deloitte.com::86282f0d-01fd-4acc-9387-9717b48c3e5d" providerId="AD" clId="Web-{D95CF5D5-6D6D-2022-F7A8-190CA705CD4B}" dt="2024-05-28T19:14:38.501" v="407"/>
          <ac:spMkLst>
            <pc:docMk/>
            <pc:sldMk cId="153350407" sldId="377"/>
            <ac:spMk id="2" creationId="{00000000-0000-0000-0000-000000000000}"/>
          </ac:spMkLst>
        </pc:spChg>
        <pc:spChg chg="mod">
          <ac:chgData name="Mercado, Andrea Marisol" userId="S::andmercado@deloitte.com::86282f0d-01fd-4acc-9387-9717b48c3e5d" providerId="AD" clId="Web-{D95CF5D5-6D6D-2022-F7A8-190CA705CD4B}" dt="2024-05-28T19:14:38.454" v="404"/>
          <ac:spMkLst>
            <pc:docMk/>
            <pc:sldMk cId="153350407" sldId="377"/>
            <ac:spMk id="4" creationId="{00000000-0000-0000-0000-000000000000}"/>
          </ac:spMkLst>
        </pc:spChg>
        <pc:spChg chg="mod">
          <ac:chgData name="Mercado, Andrea Marisol" userId="S::andmercado@deloitte.com::86282f0d-01fd-4acc-9387-9717b48c3e5d" providerId="AD" clId="Web-{D95CF5D5-6D6D-2022-F7A8-190CA705CD4B}" dt="2024-05-28T19:14:38.485" v="406"/>
          <ac:spMkLst>
            <pc:docMk/>
            <pc:sldMk cId="153350407" sldId="377"/>
            <ac:spMk id="21" creationId="{00000000-0000-0000-0000-000000000000}"/>
          </ac:spMkLst>
        </pc:spChg>
        <pc:spChg chg="mod">
          <ac:chgData name="Mercado, Andrea Marisol" userId="S::andmercado@deloitte.com::86282f0d-01fd-4acc-9387-9717b48c3e5d" providerId="AD" clId="Web-{D95CF5D5-6D6D-2022-F7A8-190CA705CD4B}" dt="2024-05-28T19:14:38.469" v="405"/>
          <ac:spMkLst>
            <pc:docMk/>
            <pc:sldMk cId="153350407" sldId="377"/>
            <ac:spMk id="27" creationId="{00000000-0000-0000-0000-000000000000}"/>
          </ac:spMkLst>
        </pc:spChg>
        <pc:picChg chg="mod modCrop">
          <ac:chgData name="Mercado, Andrea Marisol" userId="S::andmercado@deloitte.com::86282f0d-01fd-4acc-9387-9717b48c3e5d" providerId="AD" clId="Web-{D95CF5D5-6D6D-2022-F7A8-190CA705CD4B}" dt="2024-05-28T19:14:57.891" v="409"/>
          <ac:picMkLst>
            <pc:docMk/>
            <pc:sldMk cId="153350407" sldId="377"/>
            <ac:picMk id="24" creationId="{35C85D1C-8E5A-D92C-C245-44DFD96AACEE}"/>
          </ac:picMkLst>
        </pc:picChg>
      </pc:sldChg>
      <pc:sldChg chg="delSp modSp">
        <pc:chgData name="Mercado, Andrea Marisol" userId="S::andmercado@deloitte.com::86282f0d-01fd-4acc-9387-9717b48c3e5d" providerId="AD" clId="Web-{D95CF5D5-6D6D-2022-F7A8-190CA705CD4B}" dt="2024-05-28T19:14:07.126" v="403"/>
        <pc:sldMkLst>
          <pc:docMk/>
          <pc:sldMk cId="2966844647" sldId="493"/>
        </pc:sldMkLst>
        <pc:graphicFrameChg chg="del">
          <ac:chgData name="Mercado, Andrea Marisol" userId="S::andmercado@deloitte.com::86282f0d-01fd-4acc-9387-9717b48c3e5d" providerId="AD" clId="Web-{D95CF5D5-6D6D-2022-F7A8-190CA705CD4B}" dt="2024-05-28T19:07:00.723" v="2"/>
          <ac:graphicFrameMkLst>
            <pc:docMk/>
            <pc:sldMk cId="2966844647" sldId="493"/>
            <ac:graphicFrameMk id="4" creationId="{DC25785E-65FF-DDAA-B392-44740F9C1742}"/>
          </ac:graphicFrameMkLst>
        </pc:graphicFrameChg>
        <pc:graphicFrameChg chg="del">
          <ac:chgData name="Mercado, Andrea Marisol" userId="S::andmercado@deloitte.com::86282f0d-01fd-4acc-9387-9717b48c3e5d" providerId="AD" clId="Web-{D95CF5D5-6D6D-2022-F7A8-190CA705CD4B}" dt="2024-05-28T19:07:07.504" v="9"/>
          <ac:graphicFrameMkLst>
            <pc:docMk/>
            <pc:sldMk cId="2966844647" sldId="493"/>
            <ac:graphicFrameMk id="5" creationId="{B6DB7302-9BFF-FA8B-EB90-1A463C45BD80}"/>
          </ac:graphicFrameMkLst>
        </pc:graphicFrameChg>
        <pc:graphicFrameChg chg="mod modGraphic">
          <ac:chgData name="Mercado, Andrea Marisol" userId="S::andmercado@deloitte.com::86282f0d-01fd-4acc-9387-9717b48c3e5d" providerId="AD" clId="Web-{D95CF5D5-6D6D-2022-F7A8-190CA705CD4B}" dt="2024-05-28T19:14:07.126" v="403"/>
          <ac:graphicFrameMkLst>
            <pc:docMk/>
            <pc:sldMk cId="2966844647" sldId="493"/>
            <ac:graphicFrameMk id="7" creationId="{3B0C6FD2-6FE9-6B07-5F93-0F7B3FD967ED}"/>
          </ac:graphicFrameMkLst>
        </pc:graphicFrameChg>
        <pc:graphicFrameChg chg="del modGraphic">
          <ac:chgData name="Mercado, Andrea Marisol" userId="S::andmercado@deloitte.com::86282f0d-01fd-4acc-9387-9717b48c3e5d" providerId="AD" clId="Web-{D95CF5D5-6D6D-2022-F7A8-190CA705CD4B}" dt="2024-05-28T19:07:06.754" v="7"/>
          <ac:graphicFrameMkLst>
            <pc:docMk/>
            <pc:sldMk cId="2966844647" sldId="493"/>
            <ac:graphicFrameMk id="11" creationId="{3392EC7E-1918-F37D-CDA9-16C229A619EF}"/>
          </ac:graphicFrameMkLst>
        </pc:graphicFrameChg>
        <pc:graphicFrameChg chg="del mod modGraphic">
          <ac:chgData name="Mercado, Andrea Marisol" userId="S::andmercado@deloitte.com::86282f0d-01fd-4acc-9387-9717b48c3e5d" providerId="AD" clId="Web-{D95CF5D5-6D6D-2022-F7A8-190CA705CD4B}" dt="2024-05-28T19:07:06.957" v="8"/>
          <ac:graphicFrameMkLst>
            <pc:docMk/>
            <pc:sldMk cId="2966844647" sldId="493"/>
            <ac:graphicFrameMk id="12" creationId="{0D8E0659-F95F-40D2-46E5-F9B72F8385AD}"/>
          </ac:graphicFrameMkLst>
        </pc:graphicFrameChg>
      </pc:sldChg>
      <pc:sldChg chg="modSp">
        <pc:chgData name="Mercado, Andrea Marisol" userId="S::andmercado@deloitte.com::86282f0d-01fd-4acc-9387-9717b48c3e5d" providerId="AD" clId="Web-{D95CF5D5-6D6D-2022-F7A8-190CA705CD4B}" dt="2024-05-28T19:44:12.331" v="466" actId="1076"/>
        <pc:sldMkLst>
          <pc:docMk/>
          <pc:sldMk cId="966376479" sldId="507"/>
        </pc:sldMkLst>
        <pc:spChg chg="mod">
          <ac:chgData name="Mercado, Andrea Marisol" userId="S::andmercado@deloitte.com::86282f0d-01fd-4acc-9387-9717b48c3e5d" providerId="AD" clId="Web-{D95CF5D5-6D6D-2022-F7A8-190CA705CD4B}" dt="2024-05-28T19:44:06.706" v="465" actId="14100"/>
          <ac:spMkLst>
            <pc:docMk/>
            <pc:sldMk cId="966376479" sldId="507"/>
            <ac:spMk id="6" creationId="{F9862A62-3F8B-E2AD-ACB6-CABFE522E533}"/>
          </ac:spMkLst>
        </pc:spChg>
        <pc:spChg chg="mod">
          <ac:chgData name="Mercado, Andrea Marisol" userId="S::andmercado@deloitte.com::86282f0d-01fd-4acc-9387-9717b48c3e5d" providerId="AD" clId="Web-{D95CF5D5-6D6D-2022-F7A8-190CA705CD4B}" dt="2024-05-28T19:44:06.394" v="457" actId="14100"/>
          <ac:spMkLst>
            <pc:docMk/>
            <pc:sldMk cId="966376479" sldId="507"/>
            <ac:spMk id="9" creationId="{876306E0-003B-FCF1-6777-B77337B587C2}"/>
          </ac:spMkLst>
        </pc:spChg>
        <pc:graphicFrameChg chg="mod">
          <ac:chgData name="Mercado, Andrea Marisol" userId="S::andmercado@deloitte.com::86282f0d-01fd-4acc-9387-9717b48c3e5d" providerId="AD" clId="Web-{D95CF5D5-6D6D-2022-F7A8-190CA705CD4B}" dt="2024-05-28T19:44:06.331" v="455" actId="14100"/>
          <ac:graphicFrameMkLst>
            <pc:docMk/>
            <pc:sldMk cId="966376479" sldId="507"/>
            <ac:graphicFrameMk id="7" creationId="{7BAD83C9-51B0-1605-6444-D884ABFF43ED}"/>
          </ac:graphicFrameMkLst>
        </pc:graphicFrameChg>
        <pc:graphicFrameChg chg="mod">
          <ac:chgData name="Mercado, Andrea Marisol" userId="S::andmercado@deloitte.com::86282f0d-01fd-4acc-9387-9717b48c3e5d" providerId="AD" clId="Web-{D95CF5D5-6D6D-2022-F7A8-190CA705CD4B}" dt="2024-05-28T19:44:06.362" v="456" actId="14100"/>
          <ac:graphicFrameMkLst>
            <pc:docMk/>
            <pc:sldMk cId="966376479" sldId="507"/>
            <ac:graphicFrameMk id="8" creationId="{EE316F1F-43CB-E383-3A00-0ECC5795EE32}"/>
          </ac:graphicFrameMkLst>
        </pc:graphicFrameChg>
        <pc:graphicFrameChg chg="mod">
          <ac:chgData name="Mercado, Andrea Marisol" userId="S::andmercado@deloitte.com::86282f0d-01fd-4acc-9387-9717b48c3e5d" providerId="AD" clId="Web-{D95CF5D5-6D6D-2022-F7A8-190CA705CD4B}" dt="2024-05-28T19:44:06.440" v="458" actId="14100"/>
          <ac:graphicFrameMkLst>
            <pc:docMk/>
            <pc:sldMk cId="966376479" sldId="507"/>
            <ac:graphicFrameMk id="10" creationId="{B4C1AD43-2C53-CBDF-D614-071FFE32269C}"/>
          </ac:graphicFrameMkLst>
        </pc:graphicFrameChg>
        <pc:graphicFrameChg chg="mod">
          <ac:chgData name="Mercado, Andrea Marisol" userId="S::andmercado@deloitte.com::86282f0d-01fd-4acc-9387-9717b48c3e5d" providerId="AD" clId="Web-{D95CF5D5-6D6D-2022-F7A8-190CA705CD4B}" dt="2024-05-28T19:44:06.534" v="461" actId="14100"/>
          <ac:graphicFrameMkLst>
            <pc:docMk/>
            <pc:sldMk cId="966376479" sldId="507"/>
            <ac:graphicFrameMk id="14" creationId="{74BB708C-BFAB-5B2B-B35E-6D1E3FB0E5C6}"/>
          </ac:graphicFrameMkLst>
        </pc:graphicFrameChg>
        <pc:graphicFrameChg chg="mod">
          <ac:chgData name="Mercado, Andrea Marisol" userId="S::andmercado@deloitte.com::86282f0d-01fd-4acc-9387-9717b48c3e5d" providerId="AD" clId="Web-{D95CF5D5-6D6D-2022-F7A8-190CA705CD4B}" dt="2024-05-28T19:44:12.331" v="466" actId="1076"/>
          <ac:graphicFrameMkLst>
            <pc:docMk/>
            <pc:sldMk cId="966376479" sldId="507"/>
            <ac:graphicFrameMk id="17" creationId="{39229BC4-48E9-AF5A-9505-FF47FB3CDF08}"/>
          </ac:graphicFrameMkLst>
        </pc:graphicFrameChg>
        <pc:graphicFrameChg chg="mod">
          <ac:chgData name="Mercado, Andrea Marisol" userId="S::andmercado@deloitte.com::86282f0d-01fd-4acc-9387-9717b48c3e5d" providerId="AD" clId="Web-{D95CF5D5-6D6D-2022-F7A8-190CA705CD4B}" dt="2024-05-28T19:44:06.690" v="464" actId="14100"/>
          <ac:graphicFrameMkLst>
            <pc:docMk/>
            <pc:sldMk cId="966376479" sldId="507"/>
            <ac:graphicFrameMk id="19" creationId="{46E3EBDF-E041-8566-D2D4-69CFEE343FC7}"/>
          </ac:graphicFrameMkLst>
        </pc:graphicFrameChg>
        <pc:cxnChg chg="mod">
          <ac:chgData name="Mercado, Andrea Marisol" userId="S::andmercado@deloitte.com::86282f0d-01fd-4acc-9387-9717b48c3e5d" providerId="AD" clId="Web-{D95CF5D5-6D6D-2022-F7A8-190CA705CD4B}" dt="2024-05-28T19:44:06.472" v="459" actId="14100"/>
          <ac:cxnSpMkLst>
            <pc:docMk/>
            <pc:sldMk cId="966376479" sldId="507"/>
            <ac:cxnSpMk id="12" creationId="{C9DDF849-647F-3DE8-10A9-CC009FCFD204}"/>
          </ac:cxnSpMkLst>
        </pc:cxnChg>
        <pc:cxnChg chg="mod">
          <ac:chgData name="Mercado, Andrea Marisol" userId="S::andmercado@deloitte.com::86282f0d-01fd-4acc-9387-9717b48c3e5d" providerId="AD" clId="Web-{D95CF5D5-6D6D-2022-F7A8-190CA705CD4B}" dt="2024-05-28T19:44:06.503" v="460" actId="14100"/>
          <ac:cxnSpMkLst>
            <pc:docMk/>
            <pc:sldMk cId="966376479" sldId="507"/>
            <ac:cxnSpMk id="13" creationId="{F516647A-82D3-64A8-9C49-17150EB218BD}"/>
          </ac:cxnSpMkLst>
        </pc:cxnChg>
        <pc:cxnChg chg="mod">
          <ac:chgData name="Mercado, Andrea Marisol" userId="S::andmercado@deloitte.com::86282f0d-01fd-4acc-9387-9717b48c3e5d" providerId="AD" clId="Web-{D95CF5D5-6D6D-2022-F7A8-190CA705CD4B}" dt="2024-05-28T19:44:06.644" v="463" actId="14100"/>
          <ac:cxnSpMkLst>
            <pc:docMk/>
            <pc:sldMk cId="966376479" sldId="507"/>
            <ac:cxnSpMk id="18" creationId="{0CCABA69-8159-356E-C507-5FD3E167246D}"/>
          </ac:cxnSpMkLst>
        </pc:cxnChg>
      </pc:sldChg>
      <pc:sldChg chg="addSp delSp modSp">
        <pc:chgData name="Mercado, Andrea Marisol" userId="S::andmercado@deloitte.com::86282f0d-01fd-4acc-9387-9717b48c3e5d" providerId="AD" clId="Web-{D95CF5D5-6D6D-2022-F7A8-190CA705CD4B}" dt="2024-05-28T19:43:31.488" v="421" actId="1076"/>
        <pc:sldMkLst>
          <pc:docMk/>
          <pc:sldMk cId="3542634899" sldId="508"/>
        </pc:sldMkLst>
        <pc:spChg chg="mod">
          <ac:chgData name="Mercado, Andrea Marisol" userId="S::andmercado@deloitte.com::86282f0d-01fd-4acc-9387-9717b48c3e5d" providerId="AD" clId="Web-{D95CF5D5-6D6D-2022-F7A8-190CA705CD4B}" dt="2024-05-28T19:17:23.859" v="417" actId="20577"/>
          <ac:spMkLst>
            <pc:docMk/>
            <pc:sldMk cId="3542634899" sldId="508"/>
            <ac:spMk id="2" creationId="{08FFB4A0-F202-E408-C32A-72DBDF9448F7}"/>
          </ac:spMkLst>
        </pc:spChg>
        <pc:spChg chg="del">
          <ac:chgData name="Mercado, Andrea Marisol" userId="S::andmercado@deloitte.com::86282f0d-01fd-4acc-9387-9717b48c3e5d" providerId="AD" clId="Web-{D95CF5D5-6D6D-2022-F7A8-190CA705CD4B}" dt="2024-05-28T19:17:25.968" v="418"/>
          <ac:spMkLst>
            <pc:docMk/>
            <pc:sldMk cId="3542634899" sldId="508"/>
            <ac:spMk id="4" creationId="{745E9222-1341-AE9E-39D8-5FE3EE642AEE}"/>
          </ac:spMkLst>
        </pc:spChg>
        <pc:spChg chg="add mod">
          <ac:chgData name="Mercado, Andrea Marisol" userId="S::andmercado@deloitte.com::86282f0d-01fd-4acc-9387-9717b48c3e5d" providerId="AD" clId="Web-{D95CF5D5-6D6D-2022-F7A8-190CA705CD4B}" dt="2024-05-28T19:17:25.968" v="418"/>
          <ac:spMkLst>
            <pc:docMk/>
            <pc:sldMk cId="3542634899" sldId="508"/>
            <ac:spMk id="68" creationId="{A57BF634-4881-A3B0-EDFE-C77967CAF70C}"/>
          </ac:spMkLst>
        </pc:spChg>
        <pc:graphicFrameChg chg="mod">
          <ac:chgData name="Mercado, Andrea Marisol" userId="S::andmercado@deloitte.com::86282f0d-01fd-4acc-9387-9717b48c3e5d" providerId="AD" clId="Web-{D95CF5D5-6D6D-2022-F7A8-190CA705CD4B}" dt="2024-05-28T19:43:31.488" v="421" actId="1076"/>
          <ac:graphicFrameMkLst>
            <pc:docMk/>
            <pc:sldMk cId="3542634899" sldId="508"/>
            <ac:graphicFrameMk id="5" creationId="{AEB9DB45-59B8-511E-9413-C4C25B5DDCE0}"/>
          </ac:graphicFrameMkLst>
        </pc:graphicFrameChg>
        <pc:graphicFrameChg chg="mod">
          <ac:chgData name="Mercado, Andrea Marisol" userId="S::andmercado@deloitte.com::86282f0d-01fd-4acc-9387-9717b48c3e5d" providerId="AD" clId="Web-{D95CF5D5-6D6D-2022-F7A8-190CA705CD4B}" dt="2024-05-28T19:43:26.660" v="420" actId="1076"/>
          <ac:graphicFrameMkLst>
            <pc:docMk/>
            <pc:sldMk cId="3542634899" sldId="508"/>
            <ac:graphicFrameMk id="6" creationId="{65187CCB-9798-136F-6BFB-167709FB14CC}"/>
          </ac:graphicFrameMkLst>
        </pc:graphicFrameChg>
      </pc:sldChg>
      <pc:sldChg chg="modSp">
        <pc:chgData name="Mercado, Andrea Marisol" userId="S::andmercado@deloitte.com::86282f0d-01fd-4acc-9387-9717b48c3e5d" providerId="AD" clId="Web-{D95CF5D5-6D6D-2022-F7A8-190CA705CD4B}" dt="2024-05-28T19:17:15.203" v="412" actId="20577"/>
        <pc:sldMkLst>
          <pc:docMk/>
          <pc:sldMk cId="3929932632" sldId="509"/>
        </pc:sldMkLst>
        <pc:spChg chg="mod">
          <ac:chgData name="Mercado, Andrea Marisol" userId="S::andmercado@deloitte.com::86282f0d-01fd-4acc-9387-9717b48c3e5d" providerId="AD" clId="Web-{D95CF5D5-6D6D-2022-F7A8-190CA705CD4B}" dt="2024-05-28T19:17:15.203" v="412" actId="20577"/>
          <ac:spMkLst>
            <pc:docMk/>
            <pc:sldMk cId="3929932632" sldId="509"/>
            <ac:spMk id="2" creationId="{D58677B1-CC98-EDE7-0313-D2819DE69B3E}"/>
          </ac:spMkLst>
        </pc:spChg>
      </pc:sldChg>
      <pc:sldChg chg="ord">
        <pc:chgData name="Mercado, Andrea Marisol" userId="S::andmercado@deloitte.com::86282f0d-01fd-4acc-9387-9717b48c3e5d" providerId="AD" clId="Web-{D95CF5D5-6D6D-2022-F7A8-190CA705CD4B}" dt="2024-05-28T19:16:02.266" v="411"/>
        <pc:sldMkLst>
          <pc:docMk/>
          <pc:sldMk cId="1812200624" sldId="514"/>
        </pc:sldMkLst>
      </pc:sldChg>
      <pc:sldChg chg="del">
        <pc:chgData name="Mercado, Andrea Marisol" userId="S::andmercado@deloitte.com::86282f0d-01fd-4acc-9387-9717b48c3e5d" providerId="AD" clId="Web-{D95CF5D5-6D6D-2022-F7A8-190CA705CD4B}" dt="2024-05-28T19:18:54.046" v="419"/>
        <pc:sldMkLst>
          <pc:docMk/>
          <pc:sldMk cId="3898992021" sldId="515"/>
        </pc:sldMkLst>
      </pc:sldChg>
    </pc:docChg>
  </pc:docChgLst>
  <pc:docChgLst>
    <pc:chgData name="Chavarria, Nicole" userId="S::nchavarria@deloitte.com::59465f16-f52e-4fac-9696-8351220b84a8" providerId="AD" clId="Web-{94B0CB28-FF11-43BA-A858-4B8DD29E335F}"/>
    <pc:docChg chg="modSld">
      <pc:chgData name="Chavarria, Nicole" userId="S::nchavarria@deloitte.com::59465f16-f52e-4fac-9696-8351220b84a8" providerId="AD" clId="Web-{94B0CB28-FF11-43BA-A858-4B8DD29E335F}" dt="2024-05-20T19:10:19.250" v="145"/>
      <pc:docMkLst>
        <pc:docMk/>
      </pc:docMkLst>
      <pc:sldChg chg="modSp">
        <pc:chgData name="Chavarria, Nicole" userId="S::nchavarria@deloitte.com::59465f16-f52e-4fac-9696-8351220b84a8" providerId="AD" clId="Web-{94B0CB28-FF11-43BA-A858-4B8DD29E335F}" dt="2024-05-20T19:05:43.840" v="0"/>
        <pc:sldMkLst>
          <pc:docMk/>
          <pc:sldMk cId="153350407" sldId="377"/>
        </pc:sldMkLst>
        <pc:picChg chg="mod">
          <ac:chgData name="Chavarria, Nicole" userId="S::nchavarria@deloitte.com::59465f16-f52e-4fac-9696-8351220b84a8" providerId="AD" clId="Web-{94B0CB28-FF11-43BA-A858-4B8DD29E335F}" dt="2024-05-20T19:05:43.840" v="0"/>
          <ac:picMkLst>
            <pc:docMk/>
            <pc:sldMk cId="153350407" sldId="377"/>
            <ac:picMk id="23" creationId="{5A4C4F8D-95F3-D54A-CDEA-4C98B05A5EDE}"/>
          </ac:picMkLst>
        </pc:picChg>
      </pc:sldChg>
      <pc:sldChg chg="modNotes">
        <pc:chgData name="Chavarria, Nicole" userId="S::nchavarria@deloitte.com::59465f16-f52e-4fac-9696-8351220b84a8" providerId="AD" clId="Web-{94B0CB28-FF11-43BA-A858-4B8DD29E335F}" dt="2024-05-20T19:10:19.250" v="145"/>
        <pc:sldMkLst>
          <pc:docMk/>
          <pc:sldMk cId="3929932632" sldId="509"/>
        </pc:sldMkLst>
      </pc:sldChg>
    </pc:docChg>
  </pc:docChgLst>
  <pc:docChgLst>
    <pc:chgData name="Mercado, Andrea Marisol" userId="S::andmercado@deloitte.com::86282f0d-01fd-4acc-9387-9717b48c3e5d" providerId="AD" clId="Web-{9FE383BC-F533-9A9F-DBC2-35C745A3491B}"/>
    <pc:docChg chg="addSld delSld modSld sldOrd">
      <pc:chgData name="Mercado, Andrea Marisol" userId="S::andmercado@deloitte.com::86282f0d-01fd-4acc-9387-9717b48c3e5d" providerId="AD" clId="Web-{9FE383BC-F533-9A9F-DBC2-35C745A3491B}" dt="2024-06-07T19:57:03.289" v="723" actId="20577"/>
      <pc:docMkLst>
        <pc:docMk/>
      </pc:docMkLst>
      <pc:sldChg chg="modSp">
        <pc:chgData name="Mercado, Andrea Marisol" userId="S::andmercado@deloitte.com::86282f0d-01fd-4acc-9387-9717b48c3e5d" providerId="AD" clId="Web-{9FE383BC-F533-9A9F-DBC2-35C745A3491B}" dt="2024-06-07T19:56:40.804" v="715"/>
        <pc:sldMkLst>
          <pc:docMk/>
          <pc:sldMk cId="2966844647" sldId="493"/>
        </pc:sldMkLst>
        <pc:graphicFrameChg chg="mod modGraphic">
          <ac:chgData name="Mercado, Andrea Marisol" userId="S::andmercado@deloitte.com::86282f0d-01fd-4acc-9387-9717b48c3e5d" providerId="AD" clId="Web-{9FE383BC-F533-9A9F-DBC2-35C745A3491B}" dt="2024-06-07T19:56:40.804" v="715"/>
          <ac:graphicFrameMkLst>
            <pc:docMk/>
            <pc:sldMk cId="2966844647" sldId="493"/>
            <ac:graphicFrameMk id="7" creationId="{3B0C6FD2-6FE9-6B07-5F93-0F7B3FD967ED}"/>
          </ac:graphicFrameMkLst>
        </pc:graphicFrameChg>
      </pc:sldChg>
      <pc:sldChg chg="addSp delSp modSp mod modClrScheme chgLayout">
        <pc:chgData name="Mercado, Andrea Marisol" userId="S::andmercado@deloitte.com::86282f0d-01fd-4acc-9387-9717b48c3e5d" providerId="AD" clId="Web-{9FE383BC-F533-9A9F-DBC2-35C745A3491B}" dt="2024-06-07T19:57:03.289" v="723" actId="20577"/>
        <pc:sldMkLst>
          <pc:docMk/>
          <pc:sldMk cId="1084607133" sldId="512"/>
        </pc:sldMkLst>
        <pc:spChg chg="mod ord">
          <ac:chgData name="Mercado, Andrea Marisol" userId="S::andmercado@deloitte.com::86282f0d-01fd-4acc-9387-9717b48c3e5d" providerId="AD" clId="Web-{9FE383BC-F533-9A9F-DBC2-35C745A3491B}" dt="2024-06-07T19:45:35.403" v="432"/>
          <ac:spMkLst>
            <pc:docMk/>
            <pc:sldMk cId="1084607133" sldId="512"/>
            <ac:spMk id="3" creationId="{46AC1BB3-89CE-77AA-15EF-66231B03969A}"/>
          </ac:spMkLst>
        </pc:spChg>
        <pc:spChg chg="add del mod">
          <ac:chgData name="Mercado, Andrea Marisol" userId="S::andmercado@deloitte.com::86282f0d-01fd-4acc-9387-9717b48c3e5d" providerId="AD" clId="Web-{9FE383BC-F533-9A9F-DBC2-35C745A3491B}" dt="2024-06-07T19:29:25.146" v="122"/>
          <ac:spMkLst>
            <pc:docMk/>
            <pc:sldMk cId="1084607133" sldId="512"/>
            <ac:spMk id="9" creationId="{2B1F242E-3BAE-2CD5-3E2D-003CA5AEFD9E}"/>
          </ac:spMkLst>
        </pc:spChg>
        <pc:spChg chg="add del mod">
          <ac:chgData name="Mercado, Andrea Marisol" userId="S::andmercado@deloitte.com::86282f0d-01fd-4acc-9387-9717b48c3e5d" providerId="AD" clId="Web-{9FE383BC-F533-9A9F-DBC2-35C745A3491B}" dt="2024-06-07T19:29:56.632" v="130"/>
          <ac:spMkLst>
            <pc:docMk/>
            <pc:sldMk cId="1084607133" sldId="512"/>
            <ac:spMk id="12" creationId="{1801DBD5-E563-E829-A33B-3C4A192532A2}"/>
          </ac:spMkLst>
        </pc:spChg>
        <pc:spChg chg="add del">
          <ac:chgData name="Mercado, Andrea Marisol" userId="S::andmercado@deloitte.com::86282f0d-01fd-4acc-9387-9717b48c3e5d" providerId="AD" clId="Web-{9FE383BC-F533-9A9F-DBC2-35C745A3491B}" dt="2024-06-07T19:31:45.417" v="155"/>
          <ac:spMkLst>
            <pc:docMk/>
            <pc:sldMk cId="1084607133" sldId="512"/>
            <ac:spMk id="14" creationId="{3764E162-C393-F990-CD91-07632ADBD049}"/>
          </ac:spMkLst>
        </pc:spChg>
        <pc:spChg chg="add del">
          <ac:chgData name="Mercado, Andrea Marisol" userId="S::andmercado@deloitte.com::86282f0d-01fd-4acc-9387-9717b48c3e5d" providerId="AD" clId="Web-{9FE383BC-F533-9A9F-DBC2-35C745A3491B}" dt="2024-06-07T19:45:38.012" v="435"/>
          <ac:spMkLst>
            <pc:docMk/>
            <pc:sldMk cId="1084607133" sldId="512"/>
            <ac:spMk id="15" creationId="{CE1E8483-A657-23BE-675F-F491993F8971}"/>
          </ac:spMkLst>
        </pc:spChg>
        <pc:spChg chg="add del">
          <ac:chgData name="Mercado, Andrea Marisol" userId="S::andmercado@deloitte.com::86282f0d-01fd-4acc-9387-9717b48c3e5d" providerId="AD" clId="Web-{9FE383BC-F533-9A9F-DBC2-35C745A3491B}" dt="2024-06-07T19:45:30.543" v="430"/>
          <ac:spMkLst>
            <pc:docMk/>
            <pc:sldMk cId="1084607133" sldId="512"/>
            <ac:spMk id="20" creationId="{9E9AD69C-7915-CA7B-4065-3E6DA0ACE508}"/>
          </ac:spMkLst>
        </pc:spChg>
        <pc:spChg chg="add del mod">
          <ac:chgData name="Mercado, Andrea Marisol" userId="S::andmercado@deloitte.com::86282f0d-01fd-4acc-9387-9717b48c3e5d" providerId="AD" clId="Web-{9FE383BC-F533-9A9F-DBC2-35C745A3491B}" dt="2024-06-07T19:45:35.403" v="432"/>
          <ac:spMkLst>
            <pc:docMk/>
            <pc:sldMk cId="1084607133" sldId="512"/>
            <ac:spMk id="22" creationId="{534349EF-C008-EF40-97D4-09A112C1479C}"/>
          </ac:spMkLst>
        </pc:spChg>
        <pc:spChg chg="add del mod">
          <ac:chgData name="Mercado, Andrea Marisol" userId="S::andmercado@deloitte.com::86282f0d-01fd-4acc-9387-9717b48c3e5d" providerId="AD" clId="Web-{9FE383BC-F533-9A9F-DBC2-35C745A3491B}" dt="2024-06-07T19:45:35.403" v="432"/>
          <ac:spMkLst>
            <pc:docMk/>
            <pc:sldMk cId="1084607133" sldId="512"/>
            <ac:spMk id="23" creationId="{D11C1FB9-1F5F-ED77-75A9-4518C11EC0EC}"/>
          </ac:spMkLst>
        </pc:spChg>
        <pc:spChg chg="add del">
          <ac:chgData name="Mercado, Andrea Marisol" userId="S::andmercado@deloitte.com::86282f0d-01fd-4acc-9387-9717b48c3e5d" providerId="AD" clId="Web-{9FE383BC-F533-9A9F-DBC2-35C745A3491B}" dt="2024-06-07T19:45:37.997" v="434"/>
          <ac:spMkLst>
            <pc:docMk/>
            <pc:sldMk cId="1084607133" sldId="512"/>
            <ac:spMk id="25" creationId="{A2DB8821-43E2-9890-88C5-14353E0C70C2}"/>
          </ac:spMkLst>
        </pc:spChg>
        <pc:spChg chg="add del">
          <ac:chgData name="Mercado, Andrea Marisol" userId="S::andmercado@deloitte.com::86282f0d-01fd-4acc-9387-9717b48c3e5d" providerId="AD" clId="Web-{9FE383BC-F533-9A9F-DBC2-35C745A3491B}" dt="2024-06-07T19:49:13.333" v="506"/>
          <ac:spMkLst>
            <pc:docMk/>
            <pc:sldMk cId="1084607133" sldId="512"/>
            <ac:spMk id="27" creationId="{9E9AD69C-7915-CA7B-4065-3E6DA0ACE508}"/>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5" creationId="{6B26B3A5-FF49-699F-5F54-199ED1A4D7CE}"/>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6" creationId="{2E4731A0-533D-C5FF-3F33-6E1BA88697D6}"/>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7" creationId="{EB882737-60A8-713E-1AFE-1D16607606C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8" creationId="{DC56A380-12B5-FBC2-A8DD-BA6E885992E5}"/>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9" creationId="{82D31ACA-4E71-4304-2A62-0719E9B172A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0" creationId="{C8305264-0B89-01FD-55DC-24E4C009482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1" creationId="{56F4FEDB-7054-48DB-7C9F-9D5CC440F134}"/>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2" creationId="{A61C1E11-93AB-8D24-9210-AD90EE2493B2}"/>
          </ac:spMkLst>
        </pc:spChg>
        <pc:spChg chg="add del mod">
          <ac:chgData name="Mercado, Andrea Marisol" userId="S::andmercado@deloitte.com::86282f0d-01fd-4acc-9387-9717b48c3e5d" providerId="AD" clId="Web-{9FE383BC-F533-9A9F-DBC2-35C745A3491B}" dt="2024-06-07T19:30:18.883" v="133"/>
          <ac:spMkLst>
            <pc:docMk/>
            <pc:sldMk cId="1084607133" sldId="512"/>
            <ac:spMk id="968" creationId="{67CEAA11-707A-4218-ED37-5F6E729A9E25}"/>
          </ac:spMkLst>
        </pc:spChg>
        <pc:graphicFrameChg chg="add del mod ord modGraphic">
          <ac:chgData name="Mercado, Andrea Marisol" userId="S::andmercado@deloitte.com::86282f0d-01fd-4acc-9387-9717b48c3e5d" providerId="AD" clId="Web-{9FE383BC-F533-9A9F-DBC2-35C745A3491B}" dt="2024-06-07T19:57:03.289" v="723" actId="20577"/>
          <ac:graphicFrameMkLst>
            <pc:docMk/>
            <pc:sldMk cId="1084607133" sldId="512"/>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29:16.818" v="120"/>
          <ac:cxnSpMkLst>
            <pc:docMk/>
            <pc:sldMk cId="1084607133" sldId="512"/>
            <ac:cxnSpMk id="2" creationId="{B5A87698-B6D7-D716-DD09-C8E4B2FD9BA5}"/>
          </ac:cxnSpMkLst>
        </pc:cxnChg>
        <pc:cxnChg chg="add del">
          <ac:chgData name="Mercado, Andrea Marisol" userId="S::andmercado@deloitte.com::86282f0d-01fd-4acc-9387-9717b48c3e5d" providerId="AD" clId="Web-{9FE383BC-F533-9A9F-DBC2-35C745A3491B}" dt="2024-06-07T19:36:53.601" v="266"/>
          <ac:cxnSpMkLst>
            <pc:docMk/>
            <pc:sldMk cId="1084607133" sldId="512"/>
            <ac:cxnSpMk id="1150" creationId="{B0CF0C4F-B31E-04B1-7BFF-B626C34F4E90}"/>
          </ac:cxnSpMkLst>
        </pc:cxnChg>
        <pc:cxnChg chg="add del">
          <ac:chgData name="Mercado, Andrea Marisol" userId="S::andmercado@deloitte.com::86282f0d-01fd-4acc-9387-9717b48c3e5d" providerId="AD" clId="Web-{9FE383BC-F533-9A9F-DBC2-35C745A3491B}" dt="2024-06-07T19:44:45.135" v="410"/>
          <ac:cxnSpMkLst>
            <pc:docMk/>
            <pc:sldMk cId="1084607133" sldId="512"/>
            <ac:cxnSpMk id="1412" creationId="{BA0617FD-A043-514E-5C90-1AC3457BB26A}"/>
          </ac:cxnSpMkLst>
        </pc:cxnChg>
        <pc:cxnChg chg="add mod">
          <ac:chgData name="Mercado, Andrea Marisol" userId="S::andmercado@deloitte.com::86282f0d-01fd-4acc-9387-9717b48c3e5d" providerId="AD" clId="Web-{9FE383BC-F533-9A9F-DBC2-35C745A3491B}" dt="2024-06-07T19:49:42.725" v="511" actId="1076"/>
          <ac:cxnSpMkLst>
            <pc:docMk/>
            <pc:sldMk cId="1084607133" sldId="512"/>
            <ac:cxnSpMk id="2447" creationId="{DE9B7B44-AD19-1E70-F5CE-AF8F8214F83F}"/>
          </ac:cxnSpMkLst>
        </pc:cxnChg>
      </pc:sldChg>
      <pc:sldChg chg="addSp delSp modSp del mod modClrScheme chgLayout modNotes">
        <pc:chgData name="Mercado, Andrea Marisol" userId="S::andmercado@deloitte.com::86282f0d-01fd-4acc-9387-9717b48c3e5d" providerId="AD" clId="Web-{9FE383BC-F533-9A9F-DBC2-35C745A3491B}" dt="2024-06-07T19:55:40.489" v="618"/>
        <pc:sldMkLst>
          <pc:docMk/>
          <pc:sldMk cId="2570224678" sldId="513"/>
        </pc:sldMkLst>
        <pc:spChg chg="mod">
          <ac:chgData name="Mercado, Andrea Marisol" userId="S::andmercado@deloitte.com::86282f0d-01fd-4acc-9387-9717b48c3e5d" providerId="AD" clId="Web-{9FE383BC-F533-9A9F-DBC2-35C745A3491B}" dt="2024-06-07T19:40:17.187" v="333"/>
          <ac:spMkLst>
            <pc:docMk/>
            <pc:sldMk cId="2570224678" sldId="513"/>
            <ac:spMk id="3" creationId="{888DDC04-4BDA-C96D-7BAD-525B41118022}"/>
          </ac:spMkLst>
        </pc:spChg>
        <pc:spChg chg="add del mod">
          <ac:chgData name="Mercado, Andrea Marisol" userId="S::andmercado@deloitte.com::86282f0d-01fd-4acc-9387-9717b48c3e5d" providerId="AD" clId="Web-{9FE383BC-F533-9A9F-DBC2-35C745A3491B}" dt="2024-06-07T19:38:06.370" v="309"/>
          <ac:spMkLst>
            <pc:docMk/>
            <pc:sldMk cId="2570224678" sldId="513"/>
            <ac:spMk id="8" creationId="{F330E344-5211-DD0F-310E-F54660440FD6}"/>
          </ac:spMkLst>
        </pc:spChg>
        <pc:spChg chg="add del mod">
          <ac:chgData name="Mercado, Andrea Marisol" userId="S::andmercado@deloitte.com::86282f0d-01fd-4acc-9387-9717b48c3e5d" providerId="AD" clId="Web-{9FE383BC-F533-9A9F-DBC2-35C745A3491B}" dt="2024-06-07T19:40:20.609" v="334"/>
          <ac:spMkLst>
            <pc:docMk/>
            <pc:sldMk cId="2570224678" sldId="513"/>
            <ac:spMk id="9" creationId="{25B2BC7C-47EF-EF5D-BDC0-EF1047D450AF}"/>
          </ac:spMkLst>
        </pc:spChg>
        <pc:spChg chg="add del mod">
          <ac:chgData name="Mercado, Andrea Marisol" userId="S::andmercado@deloitte.com::86282f0d-01fd-4acc-9387-9717b48c3e5d" providerId="AD" clId="Web-{9FE383BC-F533-9A9F-DBC2-35C745A3491B}" dt="2024-06-07T19:38:07.948" v="310"/>
          <ac:spMkLst>
            <pc:docMk/>
            <pc:sldMk cId="2570224678" sldId="513"/>
            <ac:spMk id="13" creationId="{2ADB87EA-EB9C-DAE2-4C90-639F02436B57}"/>
          </ac:spMkLst>
        </pc:spChg>
        <pc:spChg chg="add del mod">
          <ac:chgData name="Mercado, Andrea Marisol" userId="S::andmercado@deloitte.com::86282f0d-01fd-4acc-9387-9717b48c3e5d" providerId="AD" clId="Web-{9FE383BC-F533-9A9F-DBC2-35C745A3491B}" dt="2024-06-07T19:31:10.931" v="141"/>
          <ac:spMkLst>
            <pc:docMk/>
            <pc:sldMk cId="2570224678" sldId="513"/>
            <ac:spMk id="57" creationId="{59AE19AE-20EA-2DF7-294A-9943366E7B44}"/>
          </ac:spMkLst>
        </pc:spChg>
        <pc:spChg chg="add del mod">
          <ac:chgData name="Mercado, Andrea Marisol" userId="S::andmercado@deloitte.com::86282f0d-01fd-4acc-9387-9717b48c3e5d" providerId="AD" clId="Web-{9FE383BC-F533-9A9F-DBC2-35C745A3491B}" dt="2024-06-07T19:36:58.664" v="297"/>
          <ac:spMkLst>
            <pc:docMk/>
            <pc:sldMk cId="2570224678" sldId="513"/>
            <ac:spMk id="312" creationId="{EB811EBA-154C-0282-87E4-A8229A0594B5}"/>
          </ac:spMkLst>
        </pc:spChg>
        <pc:spChg chg="add mod">
          <ac:chgData name="Mercado, Andrea Marisol" userId="S::andmercado@deloitte.com::86282f0d-01fd-4acc-9387-9717b48c3e5d" providerId="AD" clId="Web-{9FE383BC-F533-9A9F-DBC2-35C745A3491B}" dt="2024-06-07T19:43:55.539" v="406" actId="20577"/>
          <ac:spMkLst>
            <pc:docMk/>
            <pc:sldMk cId="2570224678" sldId="513"/>
            <ac:spMk id="634" creationId="{04768A2E-F618-FF02-AE5C-9AEF728933C9}"/>
          </ac:spMkLst>
        </pc:spChg>
        <pc:spChg chg="add mod">
          <ac:chgData name="Mercado, Andrea Marisol" userId="S::andmercado@deloitte.com::86282f0d-01fd-4acc-9387-9717b48c3e5d" providerId="AD" clId="Web-{9FE383BC-F533-9A9F-DBC2-35C745A3491B}" dt="2024-06-07T19:44:08.102" v="407" actId="20577"/>
          <ac:spMkLst>
            <pc:docMk/>
            <pc:sldMk cId="2570224678" sldId="513"/>
            <ac:spMk id="635" creationId="{D46D77AB-8772-33A7-3BF5-1C60606A4D2A}"/>
          </ac:spMkLst>
        </pc:spChg>
        <pc:graphicFrameChg chg="add del mod modGraphic">
          <ac:chgData name="Mercado, Andrea Marisol" userId="S::andmercado@deloitte.com::86282f0d-01fd-4acc-9387-9717b48c3e5d" providerId="AD" clId="Web-{9FE383BC-F533-9A9F-DBC2-35C745A3491B}" dt="2024-06-07T19:50:36.196" v="516" actId="1076"/>
          <ac:graphicFrameMkLst>
            <pc:docMk/>
            <pc:sldMk cId="2570224678" sldId="513"/>
            <ac:graphicFrameMk id="6" creationId="{36DD22AA-2976-01F3-38C1-6A8D4FAF607B}"/>
          </ac:graphicFrameMkLst>
        </pc:graphicFrameChg>
        <pc:cxnChg chg="del">
          <ac:chgData name="Mercado, Andrea Marisol" userId="S::andmercado@deloitte.com::86282f0d-01fd-4acc-9387-9717b48c3e5d" providerId="AD" clId="Web-{9FE383BC-F533-9A9F-DBC2-35C745A3491B}" dt="2024-06-07T19:29:10.630" v="119"/>
          <ac:cxnSpMkLst>
            <pc:docMk/>
            <pc:sldMk cId="2570224678" sldId="513"/>
            <ac:cxnSpMk id="2" creationId="{321AA7D4-2EC4-B16F-F915-7BC8E9EF29E1}"/>
          </ac:cxnSpMkLst>
        </pc:cxnChg>
        <pc:cxnChg chg="add del">
          <ac:chgData name="Mercado, Andrea Marisol" userId="S::andmercado@deloitte.com::86282f0d-01fd-4acc-9387-9717b48c3e5d" providerId="AD" clId="Web-{9FE383BC-F533-9A9F-DBC2-35C745A3491B}" dt="2024-06-07T19:50:15.976" v="513"/>
          <ac:cxnSpMkLst>
            <pc:docMk/>
            <pc:sldMk cId="2570224678" sldId="513"/>
            <ac:cxnSpMk id="637" creationId="{9616E668-B4F2-F7BA-0C2E-4CFA4D02883F}"/>
          </ac:cxnSpMkLst>
        </pc:cxnChg>
      </pc:sldChg>
      <pc:sldChg chg="addSp delSp modSp add replId modNotes">
        <pc:chgData name="Mercado, Andrea Marisol" userId="S::andmercado@deloitte.com::86282f0d-01fd-4acc-9387-9717b48c3e5d" providerId="AD" clId="Web-{9FE383BC-F533-9A9F-DBC2-35C745A3491B}" dt="2024-06-07T19:55:48.833" v="619"/>
        <pc:sldMkLst>
          <pc:docMk/>
          <pc:sldMk cId="3357390252" sldId="531"/>
        </pc:sldMkLst>
        <pc:spChg chg="mod">
          <ac:chgData name="Mercado, Andrea Marisol" userId="S::andmercado@deloitte.com::86282f0d-01fd-4acc-9387-9717b48c3e5d" providerId="AD" clId="Web-{9FE383BC-F533-9A9F-DBC2-35C745A3491B}" dt="2024-06-07T19:55:01.487" v="612"/>
          <ac:spMkLst>
            <pc:docMk/>
            <pc:sldMk cId="3357390252" sldId="531"/>
            <ac:spMk id="3" creationId="{46AC1BB3-89CE-77AA-15EF-66231B03969A}"/>
          </ac:spMkLst>
        </pc:spChg>
        <pc:spChg chg="add del">
          <ac:chgData name="Mercado, Andrea Marisol" userId="S::andmercado@deloitte.com::86282f0d-01fd-4acc-9387-9717b48c3e5d" providerId="AD" clId="Web-{9FE383BC-F533-9A9F-DBC2-35C745A3491B}" dt="2024-06-07T19:55:30.239" v="616"/>
          <ac:spMkLst>
            <pc:docMk/>
            <pc:sldMk cId="3357390252" sldId="531"/>
            <ac:spMk id="8" creationId="{C8805B8C-5247-396D-9CCC-72CA05F6192D}"/>
          </ac:spMkLst>
        </pc:spChg>
        <pc:spChg chg="add del">
          <ac:chgData name="Mercado, Andrea Marisol" userId="S::andmercado@deloitte.com::86282f0d-01fd-4acc-9387-9717b48c3e5d" providerId="AD" clId="Web-{9FE383BC-F533-9A9F-DBC2-35C745A3491B}" dt="2024-06-07T19:55:13.785" v="613"/>
          <ac:spMkLst>
            <pc:docMk/>
            <pc:sldMk cId="3357390252" sldId="531"/>
            <ac:spMk id="11" creationId="{4FA653E7-DAB6-2894-CAAE-48DBD3BF7044}"/>
          </ac:spMkLst>
        </pc:spChg>
        <pc:graphicFrameChg chg="mod modGraphic">
          <ac:chgData name="Mercado, Andrea Marisol" userId="S::andmercado@deloitte.com::86282f0d-01fd-4acc-9387-9717b48c3e5d" providerId="AD" clId="Web-{9FE383BC-F533-9A9F-DBC2-35C745A3491B}" dt="2024-06-07T19:55:34.567" v="617" actId="1076"/>
          <ac:graphicFrameMkLst>
            <pc:docMk/>
            <pc:sldMk cId="3357390252" sldId="531"/>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50:31.664" v="515"/>
          <ac:cxnSpMkLst>
            <pc:docMk/>
            <pc:sldMk cId="3357390252" sldId="531"/>
            <ac:cxnSpMk id="2447" creationId="{DE9B7B44-AD19-1E70-F5CE-AF8F8214F83F}"/>
          </ac:cxnSpMkLst>
        </pc:cxnChg>
        <pc:cxnChg chg="add">
          <ac:chgData name="Mercado, Andrea Marisol" userId="S::andmercado@deloitte.com::86282f0d-01fd-4acc-9387-9717b48c3e5d" providerId="AD" clId="Web-{9FE383BC-F533-9A9F-DBC2-35C745A3491B}" dt="2024-06-07T19:55:48.833" v="619"/>
          <ac:cxnSpMkLst>
            <pc:docMk/>
            <pc:sldMk cId="3357390252" sldId="531"/>
            <ac:cxnSpMk id="3067" creationId="{E9EC43BD-1695-2798-AEA9-45AE4F12BBE0}"/>
          </ac:cxnSpMkLst>
        </pc:cxnChg>
      </pc:sldChg>
      <pc:sldChg chg="modSp add del ord replId">
        <pc:chgData name="Mercado, Andrea Marisol" userId="S::andmercado@deloitte.com::86282f0d-01fd-4acc-9387-9717b48c3e5d" providerId="AD" clId="Web-{9FE383BC-F533-9A9F-DBC2-35C745A3491B}" dt="2024-06-07T19:44:32.494" v="409"/>
        <pc:sldMkLst>
          <pc:docMk/>
          <pc:sldMk cId="4230436159" sldId="531"/>
        </pc:sldMkLst>
        <pc:graphicFrameChg chg="mod">
          <ac:chgData name="Mercado, Andrea Marisol" userId="S::andmercado@deloitte.com::86282f0d-01fd-4acc-9387-9717b48c3e5d" providerId="AD" clId="Web-{9FE383BC-F533-9A9F-DBC2-35C745A3491B}" dt="2024-06-07T19:44:28.385" v="408" actId="1076"/>
          <ac:graphicFrameMkLst>
            <pc:docMk/>
            <pc:sldMk cId="4230436159" sldId="531"/>
            <ac:graphicFrameMk id="6" creationId="{DF88A53D-2A72-4ABC-E281-9AB22199576F}"/>
          </ac:graphicFrameMkLst>
        </pc:graphicFrameChg>
      </pc:sldChg>
      <pc:sldChg chg="addSp delSp modSp new del">
        <pc:chgData name="Mercado, Andrea Marisol" userId="S::andmercado@deloitte.com::86282f0d-01fd-4acc-9387-9717b48c3e5d" providerId="AD" clId="Web-{9FE383BC-F533-9A9F-DBC2-35C745A3491B}" dt="2024-06-07T19:25:27.902" v="59"/>
        <pc:sldMkLst>
          <pc:docMk/>
          <pc:sldMk cId="3043499200" sldId="532"/>
        </pc:sldMkLst>
        <pc:spChg chg="del">
          <ac:chgData name="Mercado, Andrea Marisol" userId="S::andmercado@deloitte.com::86282f0d-01fd-4acc-9387-9717b48c3e5d" providerId="AD" clId="Web-{9FE383BC-F533-9A9F-DBC2-35C745A3491B}" dt="2024-06-07T19:23:41.117" v="8"/>
          <ac:spMkLst>
            <pc:docMk/>
            <pc:sldMk cId="3043499200" sldId="532"/>
            <ac:spMk id="2" creationId="{C96D8400-CC64-E13E-ACD8-0CADD82DA7A0}"/>
          </ac:spMkLst>
        </pc:spChg>
        <pc:spChg chg="add mod">
          <ac:chgData name="Mercado, Andrea Marisol" userId="S::andmercado@deloitte.com::86282f0d-01fd-4acc-9387-9717b48c3e5d" providerId="AD" clId="Web-{9FE383BC-F533-9A9F-DBC2-35C745A3491B}" dt="2024-06-07T19:23:54.680" v="9" actId="1076"/>
          <ac:spMkLst>
            <pc:docMk/>
            <pc:sldMk cId="3043499200" sldId="532"/>
            <ac:spMk id="4" creationId="{308A9E45-3818-28CF-8E36-CCAC90B7AD30}"/>
          </ac:spMkLst>
        </pc:spChg>
        <pc:spChg chg="add mod">
          <ac:chgData name="Mercado, Andrea Marisol" userId="S::andmercado@deloitte.com::86282f0d-01fd-4acc-9387-9717b48c3e5d" providerId="AD" clId="Web-{9FE383BC-F533-9A9F-DBC2-35C745A3491B}" dt="2024-06-07T19:25:24.090" v="58" actId="20577"/>
          <ac:spMkLst>
            <pc:docMk/>
            <pc:sldMk cId="3043499200" sldId="532"/>
            <ac:spMk id="39" creationId="{3F6E76DE-05AA-E491-4639-FF0F4A24ADA0}"/>
          </ac:spMkLst>
        </pc:spChg>
        <pc:graphicFrameChg chg="add del">
          <ac:chgData name="Mercado, Andrea Marisol" userId="S::andmercado@deloitte.com::86282f0d-01fd-4acc-9387-9717b48c3e5d" providerId="AD" clId="Web-{9FE383BC-F533-9A9F-DBC2-35C745A3491B}" dt="2024-06-07T19:24:02.321" v="10"/>
          <ac:graphicFrameMkLst>
            <pc:docMk/>
            <pc:sldMk cId="3043499200" sldId="532"/>
            <ac:graphicFrameMk id="6" creationId="{4BAE4750-0FE7-07AF-2EF4-A14A950B7082}"/>
          </ac:graphicFrameMkLst>
        </pc:graphicFrameChg>
        <pc:cxnChg chg="add del">
          <ac:chgData name="Mercado, Andrea Marisol" userId="S::andmercado@deloitte.com::86282f0d-01fd-4acc-9387-9717b48c3e5d" providerId="AD" clId="Web-{9FE383BC-F533-9A9F-DBC2-35C745A3491B}" dt="2024-06-07T19:24:16.946" v="11"/>
          <ac:cxnSpMkLst>
            <pc:docMk/>
            <pc:sldMk cId="3043499200" sldId="532"/>
            <ac:cxnSpMk id="18" creationId="{FF775081-0218-7350-C1D4-D6779752AA5B}"/>
          </ac:cxnSpMkLst>
        </pc:cxnChg>
      </pc:sldChg>
    </pc:docChg>
  </pc:docChgLst>
  <pc:docChgLst>
    <pc:chgData name="Mercado, Andrea Marisol" userId="S::andmercado@deloitte.com::86282f0d-01fd-4acc-9387-9717b48c3e5d" providerId="AD" clId="Web-{27BA9A0D-1258-55A6-9A84-268FDF6032F2}"/>
    <pc:docChg chg="delSld">
      <pc:chgData name="Mercado, Andrea Marisol" userId="S::andmercado@deloitte.com::86282f0d-01fd-4acc-9387-9717b48c3e5d" providerId="AD" clId="Web-{27BA9A0D-1258-55A6-9A84-268FDF6032F2}" dt="2024-05-21T19:13:50.710" v="7"/>
      <pc:docMkLst>
        <pc:docMk/>
      </pc:docMkLst>
      <pc:sldChg chg="del">
        <pc:chgData name="Mercado, Andrea Marisol" userId="S::andmercado@deloitte.com::86282f0d-01fd-4acc-9387-9717b48c3e5d" providerId="AD" clId="Web-{27BA9A0D-1258-55A6-9A84-268FDF6032F2}" dt="2024-05-21T19:13:47.663" v="6"/>
        <pc:sldMkLst>
          <pc:docMk/>
          <pc:sldMk cId="4231841769" sldId="347"/>
        </pc:sldMkLst>
      </pc:sldChg>
      <pc:sldChg chg="del">
        <pc:chgData name="Mercado, Andrea Marisol" userId="S::andmercado@deloitte.com::86282f0d-01fd-4acc-9387-9717b48c3e5d" providerId="AD" clId="Web-{27BA9A0D-1258-55A6-9A84-268FDF6032F2}" dt="2024-05-21T19:13:26.304" v="5"/>
        <pc:sldMkLst>
          <pc:docMk/>
          <pc:sldMk cId="3307669921" sldId="478"/>
        </pc:sldMkLst>
      </pc:sldChg>
      <pc:sldChg chg="del">
        <pc:chgData name="Mercado, Andrea Marisol" userId="S::andmercado@deloitte.com::86282f0d-01fd-4acc-9387-9717b48c3e5d" providerId="AD" clId="Web-{27BA9A0D-1258-55A6-9A84-268FDF6032F2}" dt="2024-05-21T19:13:26.304" v="2"/>
        <pc:sldMkLst>
          <pc:docMk/>
          <pc:sldMk cId="2195862732" sldId="501"/>
        </pc:sldMkLst>
      </pc:sldChg>
      <pc:sldChg chg="del">
        <pc:chgData name="Mercado, Andrea Marisol" userId="S::andmercado@deloitte.com::86282f0d-01fd-4acc-9387-9717b48c3e5d" providerId="AD" clId="Web-{27BA9A0D-1258-55A6-9A84-268FDF6032F2}" dt="2024-05-21T19:13:26.304" v="3"/>
        <pc:sldMkLst>
          <pc:docMk/>
          <pc:sldMk cId="377716646" sldId="502"/>
        </pc:sldMkLst>
      </pc:sldChg>
      <pc:sldChg chg="del">
        <pc:chgData name="Mercado, Andrea Marisol" userId="S::andmercado@deloitte.com::86282f0d-01fd-4acc-9387-9717b48c3e5d" providerId="AD" clId="Web-{27BA9A0D-1258-55A6-9A84-268FDF6032F2}" dt="2024-05-21T19:13:26.304" v="4"/>
        <pc:sldMkLst>
          <pc:docMk/>
          <pc:sldMk cId="982031792" sldId="503"/>
        </pc:sldMkLst>
      </pc:sldChg>
      <pc:sldChg chg="del">
        <pc:chgData name="Mercado, Andrea Marisol" userId="S::andmercado@deloitte.com::86282f0d-01fd-4acc-9387-9717b48c3e5d" providerId="AD" clId="Web-{27BA9A0D-1258-55A6-9A84-268FDF6032F2}" dt="2024-05-21T19:13:26.304" v="1"/>
        <pc:sldMkLst>
          <pc:docMk/>
          <pc:sldMk cId="4121523291" sldId="504"/>
        </pc:sldMkLst>
      </pc:sldChg>
      <pc:sldChg chg="del">
        <pc:chgData name="Mercado, Andrea Marisol" userId="S::andmercado@deloitte.com::86282f0d-01fd-4acc-9387-9717b48c3e5d" providerId="AD" clId="Web-{27BA9A0D-1258-55A6-9A84-268FDF6032F2}" dt="2024-05-21T19:13:26.304" v="0"/>
        <pc:sldMkLst>
          <pc:docMk/>
          <pc:sldMk cId="3066985548" sldId="505"/>
        </pc:sldMkLst>
      </pc:sldChg>
      <pc:sldChg chg="del">
        <pc:chgData name="Mercado, Andrea Marisol" userId="S::andmercado@deloitte.com::86282f0d-01fd-4acc-9387-9717b48c3e5d" providerId="AD" clId="Web-{27BA9A0D-1258-55A6-9A84-268FDF6032F2}" dt="2024-05-21T19:13:50.710" v="7"/>
        <pc:sldMkLst>
          <pc:docMk/>
          <pc:sldMk cId="1872132277" sldId="516"/>
        </pc:sldMkLst>
      </pc:sldChg>
    </pc:docChg>
  </pc:docChgLst>
  <pc:docChgLst>
    <pc:chgData name="Chavarria, Nicole" userId="59465f16-f52e-4fac-9696-8351220b84a8" providerId="ADAL" clId="{1DD2BE58-6394-446D-BC3B-31E195F5054C}"/>
    <pc:docChg chg="undo custSel addSld delSld modSld sldOrd">
      <pc:chgData name="Chavarria, Nicole" userId="59465f16-f52e-4fac-9696-8351220b84a8" providerId="ADAL" clId="{1DD2BE58-6394-446D-BC3B-31E195F5054C}" dt="2024-06-12T17:54:24.073" v="2207" actId="1076"/>
      <pc:docMkLst>
        <pc:docMk/>
      </pc:docMkLst>
      <pc:sldChg chg="del">
        <pc:chgData name="Chavarria, Nicole" userId="59465f16-f52e-4fac-9696-8351220b84a8" providerId="ADAL" clId="{1DD2BE58-6394-446D-BC3B-31E195F5054C}" dt="2024-05-07T20:51:28.094" v="225" actId="2696"/>
        <pc:sldMkLst>
          <pc:docMk/>
          <pc:sldMk cId="3554107295" sldId="269"/>
        </pc:sldMkLst>
      </pc:sldChg>
      <pc:sldChg chg="delSp modSp mod">
        <pc:chgData name="Chavarria, Nicole" userId="59465f16-f52e-4fac-9696-8351220b84a8" providerId="ADAL" clId="{1DD2BE58-6394-446D-BC3B-31E195F5054C}" dt="2024-05-07T20:53:20.205" v="264" actId="20577"/>
        <pc:sldMkLst>
          <pc:docMk/>
          <pc:sldMk cId="4255256458" sldId="270"/>
        </pc:sldMkLst>
        <pc:spChg chg="del mod">
          <ac:chgData name="Chavarria, Nicole" userId="59465f16-f52e-4fac-9696-8351220b84a8" providerId="ADAL" clId="{1DD2BE58-6394-446D-BC3B-31E195F5054C}" dt="2024-05-07T20:53:07.534" v="250" actId="478"/>
          <ac:spMkLst>
            <pc:docMk/>
            <pc:sldMk cId="4255256458" sldId="270"/>
            <ac:spMk id="2" creationId="{00000000-0000-0000-0000-000000000000}"/>
          </ac:spMkLst>
        </pc:spChg>
        <pc:spChg chg="mod">
          <ac:chgData name="Chavarria, Nicole" userId="59465f16-f52e-4fac-9696-8351220b84a8" providerId="ADAL" clId="{1DD2BE58-6394-446D-BC3B-31E195F5054C}" dt="2024-05-07T20:53:20.205" v="264" actId="20577"/>
          <ac:spMkLst>
            <pc:docMk/>
            <pc:sldMk cId="4255256458" sldId="270"/>
            <ac:spMk id="9" creationId="{00000000-0000-0000-0000-000000000000}"/>
          </ac:spMkLst>
        </pc:spChg>
      </pc:sldChg>
      <pc:sldChg chg="del">
        <pc:chgData name="Chavarria, Nicole" userId="59465f16-f52e-4fac-9696-8351220b84a8" providerId="ADAL" clId="{1DD2BE58-6394-446D-BC3B-31E195F5054C}" dt="2024-05-07T20:51:30.643" v="226" actId="2696"/>
        <pc:sldMkLst>
          <pc:docMk/>
          <pc:sldMk cId="3205254839" sldId="271"/>
        </pc:sldMkLst>
      </pc:sldChg>
      <pc:sldChg chg="del">
        <pc:chgData name="Chavarria, Nicole" userId="59465f16-f52e-4fac-9696-8351220b84a8" providerId="ADAL" clId="{1DD2BE58-6394-446D-BC3B-31E195F5054C}" dt="2024-05-07T20:25:45.941" v="0" actId="2696"/>
        <pc:sldMkLst>
          <pc:docMk/>
          <pc:sldMk cId="861957290" sldId="341"/>
        </pc:sldMkLst>
      </pc:sldChg>
      <pc:sldChg chg="del">
        <pc:chgData name="Chavarria, Nicole" userId="59465f16-f52e-4fac-9696-8351220b84a8" providerId="ADAL" clId="{1DD2BE58-6394-446D-BC3B-31E195F5054C}" dt="2024-05-07T20:52:39.772" v="244" actId="2696"/>
        <pc:sldMkLst>
          <pc:docMk/>
          <pc:sldMk cId="2086385603" sldId="342"/>
        </pc:sldMkLst>
      </pc:sldChg>
      <pc:sldChg chg="del">
        <pc:chgData name="Chavarria, Nicole" userId="59465f16-f52e-4fac-9696-8351220b84a8" providerId="ADAL" clId="{1DD2BE58-6394-446D-BC3B-31E195F5054C}" dt="2024-05-07T20:52:32.944" v="242" actId="2696"/>
        <pc:sldMkLst>
          <pc:docMk/>
          <pc:sldMk cId="2718855235" sldId="351"/>
        </pc:sldMkLst>
      </pc:sldChg>
      <pc:sldChg chg="del">
        <pc:chgData name="Chavarria, Nicole" userId="59465f16-f52e-4fac-9696-8351220b84a8" providerId="ADAL" clId="{1DD2BE58-6394-446D-BC3B-31E195F5054C}" dt="2024-05-07T20:52:24.409" v="239" actId="2696"/>
        <pc:sldMkLst>
          <pc:docMk/>
          <pc:sldMk cId="3418665187" sldId="372"/>
        </pc:sldMkLst>
      </pc:sldChg>
      <pc:sldChg chg="del">
        <pc:chgData name="Chavarria, Nicole" userId="59465f16-f52e-4fac-9696-8351220b84a8" providerId="ADAL" clId="{1DD2BE58-6394-446D-BC3B-31E195F5054C}" dt="2024-05-07T20:50:22.791" v="215" actId="2696"/>
        <pc:sldMkLst>
          <pc:docMk/>
          <pc:sldMk cId="3887647588" sldId="373"/>
        </pc:sldMkLst>
      </pc:sldChg>
      <pc:sldChg chg="del">
        <pc:chgData name="Chavarria, Nicole" userId="59465f16-f52e-4fac-9696-8351220b84a8" providerId="ADAL" clId="{1DD2BE58-6394-446D-BC3B-31E195F5054C}" dt="2024-05-07T20:50:19.649" v="214" actId="2696"/>
        <pc:sldMkLst>
          <pc:docMk/>
          <pc:sldMk cId="1587456036" sldId="374"/>
        </pc:sldMkLst>
      </pc:sldChg>
      <pc:sldChg chg="del">
        <pc:chgData name="Chavarria, Nicole" userId="59465f16-f52e-4fac-9696-8351220b84a8" providerId="ADAL" clId="{1DD2BE58-6394-446D-BC3B-31E195F5054C}" dt="2024-05-07T20:52:26.057" v="240" actId="2696"/>
        <pc:sldMkLst>
          <pc:docMk/>
          <pc:sldMk cId="1654944373" sldId="375"/>
        </pc:sldMkLst>
      </pc:sldChg>
      <pc:sldChg chg="del">
        <pc:chgData name="Chavarria, Nicole" userId="59465f16-f52e-4fac-9696-8351220b84a8" providerId="ADAL" clId="{1DD2BE58-6394-446D-BC3B-31E195F5054C}" dt="2024-05-07T20:49:33.114" v="210" actId="2696"/>
        <pc:sldMkLst>
          <pc:docMk/>
          <pc:sldMk cId="1391675115" sldId="376"/>
        </pc:sldMkLst>
      </pc:sldChg>
      <pc:sldChg chg="ord">
        <pc:chgData name="Chavarria, Nicole" userId="59465f16-f52e-4fac-9696-8351220b84a8" providerId="ADAL" clId="{1DD2BE58-6394-446D-BC3B-31E195F5054C}" dt="2024-05-07T20:49:49.459" v="212"/>
        <pc:sldMkLst>
          <pc:docMk/>
          <pc:sldMk cId="153350407" sldId="377"/>
        </pc:sldMkLst>
      </pc:sldChg>
      <pc:sldChg chg="del">
        <pc:chgData name="Chavarria, Nicole" userId="59465f16-f52e-4fac-9696-8351220b84a8" providerId="ADAL" clId="{1DD2BE58-6394-446D-BC3B-31E195F5054C}" dt="2024-05-07T20:49:18.877" v="208" actId="2696"/>
        <pc:sldMkLst>
          <pc:docMk/>
          <pc:sldMk cId="3792841793" sldId="378"/>
        </pc:sldMkLst>
      </pc:sldChg>
      <pc:sldChg chg="del">
        <pc:chgData name="Chavarria, Nicole" userId="59465f16-f52e-4fac-9696-8351220b84a8" providerId="ADAL" clId="{1DD2BE58-6394-446D-BC3B-31E195F5054C}" dt="2024-05-07T20:49:16.443" v="207" actId="2696"/>
        <pc:sldMkLst>
          <pc:docMk/>
          <pc:sldMk cId="3657818877" sldId="379"/>
        </pc:sldMkLst>
      </pc:sldChg>
      <pc:sldChg chg="del">
        <pc:chgData name="Chavarria, Nicole" userId="59465f16-f52e-4fac-9696-8351220b84a8" providerId="ADAL" clId="{1DD2BE58-6394-446D-BC3B-31E195F5054C}" dt="2024-05-07T20:48:44.778" v="206" actId="2696"/>
        <pc:sldMkLst>
          <pc:docMk/>
          <pc:sldMk cId="703598829" sldId="380"/>
        </pc:sldMkLst>
      </pc:sldChg>
      <pc:sldChg chg="del">
        <pc:chgData name="Chavarria, Nicole" userId="59465f16-f52e-4fac-9696-8351220b84a8" providerId="ADAL" clId="{1DD2BE58-6394-446D-BC3B-31E195F5054C}" dt="2024-05-07T20:52:30.080" v="241" actId="2696"/>
        <pc:sldMkLst>
          <pc:docMk/>
          <pc:sldMk cId="4188912794" sldId="386"/>
        </pc:sldMkLst>
      </pc:sldChg>
      <pc:sldChg chg="del">
        <pc:chgData name="Chavarria, Nicole" userId="59465f16-f52e-4fac-9696-8351220b84a8" providerId="ADAL" clId="{1DD2BE58-6394-446D-BC3B-31E195F5054C}" dt="2024-05-07T20:47:51.875" v="154" actId="2696"/>
        <pc:sldMkLst>
          <pc:docMk/>
          <pc:sldMk cId="2241692144" sldId="389"/>
        </pc:sldMkLst>
      </pc:sldChg>
      <pc:sldChg chg="del">
        <pc:chgData name="Chavarria, Nicole" userId="59465f16-f52e-4fac-9696-8351220b84a8" providerId="ADAL" clId="{1DD2BE58-6394-446D-BC3B-31E195F5054C}" dt="2024-05-07T20:47:49.426" v="153" actId="2696"/>
        <pc:sldMkLst>
          <pc:docMk/>
          <pc:sldMk cId="2062382472" sldId="392"/>
        </pc:sldMkLst>
      </pc:sldChg>
      <pc:sldChg chg="del">
        <pc:chgData name="Chavarria, Nicole" userId="59465f16-f52e-4fac-9696-8351220b84a8" providerId="ADAL" clId="{1DD2BE58-6394-446D-BC3B-31E195F5054C}" dt="2024-05-07T20:47:18.362" v="148" actId="2696"/>
        <pc:sldMkLst>
          <pc:docMk/>
          <pc:sldMk cId="2394809977" sldId="394"/>
        </pc:sldMkLst>
      </pc:sldChg>
      <pc:sldChg chg="del">
        <pc:chgData name="Chavarria, Nicole" userId="59465f16-f52e-4fac-9696-8351220b84a8" providerId="ADAL" clId="{1DD2BE58-6394-446D-BC3B-31E195F5054C}" dt="2024-05-07T20:25:48.624" v="1" actId="2696"/>
        <pc:sldMkLst>
          <pc:docMk/>
          <pc:sldMk cId="1485223179" sldId="436"/>
        </pc:sldMkLst>
      </pc:sldChg>
      <pc:sldChg chg="del">
        <pc:chgData name="Chavarria, Nicole" userId="59465f16-f52e-4fac-9696-8351220b84a8" providerId="ADAL" clId="{1DD2BE58-6394-446D-BC3B-31E195F5054C}" dt="2024-05-07T20:25:51.250" v="2" actId="2696"/>
        <pc:sldMkLst>
          <pc:docMk/>
          <pc:sldMk cId="1103638315" sldId="437"/>
        </pc:sldMkLst>
      </pc:sldChg>
      <pc:sldChg chg="del">
        <pc:chgData name="Chavarria, Nicole" userId="59465f16-f52e-4fac-9696-8351220b84a8" providerId="ADAL" clId="{1DD2BE58-6394-446D-BC3B-31E195F5054C}" dt="2024-05-07T20:25:55.518" v="3" actId="2696"/>
        <pc:sldMkLst>
          <pc:docMk/>
          <pc:sldMk cId="1287521536" sldId="439"/>
        </pc:sldMkLst>
      </pc:sldChg>
      <pc:sldChg chg="del">
        <pc:chgData name="Chavarria, Nicole" userId="59465f16-f52e-4fac-9696-8351220b84a8" providerId="ADAL" clId="{1DD2BE58-6394-446D-BC3B-31E195F5054C}" dt="2024-05-07T20:51:18.159" v="224" actId="2696"/>
        <pc:sldMkLst>
          <pc:docMk/>
          <pc:sldMk cId="889210208" sldId="440"/>
        </pc:sldMkLst>
      </pc:sldChg>
      <pc:sldChg chg="del">
        <pc:chgData name="Chavarria, Nicole" userId="59465f16-f52e-4fac-9696-8351220b84a8" providerId="ADAL" clId="{1DD2BE58-6394-446D-BC3B-31E195F5054C}" dt="2024-05-07T20:51:14.916" v="223" actId="2696"/>
        <pc:sldMkLst>
          <pc:docMk/>
          <pc:sldMk cId="3092620570" sldId="441"/>
        </pc:sldMkLst>
      </pc:sldChg>
      <pc:sldChg chg="del">
        <pc:chgData name="Chavarria, Nicole" userId="59465f16-f52e-4fac-9696-8351220b84a8" providerId="ADAL" clId="{1DD2BE58-6394-446D-BC3B-31E195F5054C}" dt="2024-05-07T20:47:47.306" v="152" actId="2696"/>
        <pc:sldMkLst>
          <pc:docMk/>
          <pc:sldMk cId="3653565097" sldId="443"/>
        </pc:sldMkLst>
      </pc:sldChg>
      <pc:sldChg chg="del">
        <pc:chgData name="Chavarria, Nicole" userId="59465f16-f52e-4fac-9696-8351220b84a8" providerId="ADAL" clId="{1DD2BE58-6394-446D-BC3B-31E195F5054C}" dt="2024-05-07T20:47:24.658" v="150" actId="2696"/>
        <pc:sldMkLst>
          <pc:docMk/>
          <pc:sldMk cId="1171625525" sldId="444"/>
        </pc:sldMkLst>
      </pc:sldChg>
      <pc:sldChg chg="addSp delSp modSp mod">
        <pc:chgData name="Chavarria, Nicole" userId="59465f16-f52e-4fac-9696-8351220b84a8" providerId="ADAL" clId="{1DD2BE58-6394-446D-BC3B-31E195F5054C}" dt="2024-05-31T18:03:00.382" v="893" actId="1076"/>
        <pc:sldMkLst>
          <pc:docMk/>
          <pc:sldMk cId="3293253968" sldId="445"/>
        </pc:sldMkLst>
        <pc:spChg chg="add del mod">
          <ac:chgData name="Chavarria, Nicole" userId="59465f16-f52e-4fac-9696-8351220b84a8" providerId="ADAL" clId="{1DD2BE58-6394-446D-BC3B-31E195F5054C}" dt="2024-05-31T18:03:00.382" v="893" actId="1076"/>
          <ac:spMkLst>
            <pc:docMk/>
            <pc:sldMk cId="3293253968" sldId="445"/>
            <ac:spMk id="3" creationId="{EAF8D057-484E-4004-9E07-EA016E78EB94}"/>
          </ac:spMkLst>
        </pc:spChg>
        <pc:spChg chg="del mod">
          <ac:chgData name="Chavarria, Nicole" userId="59465f16-f52e-4fac-9696-8351220b84a8" providerId="ADAL" clId="{1DD2BE58-6394-446D-BC3B-31E195F5054C}" dt="2024-05-31T18:02:56.190" v="892" actId="478"/>
          <ac:spMkLst>
            <pc:docMk/>
            <pc:sldMk cId="3293253968" sldId="445"/>
            <ac:spMk id="4" creationId="{7E1E6C1B-603B-40D5-A5D8-E350DF007065}"/>
          </ac:spMkLst>
        </pc:spChg>
        <pc:spChg chg="add del mod">
          <ac:chgData name="Chavarria, Nicole" userId="59465f16-f52e-4fac-9696-8351220b84a8" providerId="ADAL" clId="{1DD2BE58-6394-446D-BC3B-31E195F5054C}" dt="2024-05-31T18:02:46.143" v="889" actId="478"/>
          <ac:spMkLst>
            <pc:docMk/>
            <pc:sldMk cId="3293253968" sldId="445"/>
            <ac:spMk id="6" creationId="{A732A655-4514-25EF-FAC2-35173ED73BE3}"/>
          </ac:spMkLst>
        </pc:spChg>
        <pc:spChg chg="add mod">
          <ac:chgData name="Chavarria, Nicole" userId="59465f16-f52e-4fac-9696-8351220b84a8" providerId="ADAL" clId="{1DD2BE58-6394-446D-BC3B-31E195F5054C}" dt="2024-05-31T18:02:56.190" v="892" actId="478"/>
          <ac:spMkLst>
            <pc:docMk/>
            <pc:sldMk cId="3293253968" sldId="445"/>
            <ac:spMk id="19" creationId="{8B42EAB4-C715-0E0B-B9CC-B801EBBC324B}"/>
          </ac:spMkLst>
        </pc:spChg>
      </pc:sldChg>
      <pc:sldChg chg="del">
        <pc:chgData name="Chavarria, Nicole" userId="59465f16-f52e-4fac-9696-8351220b84a8" providerId="ADAL" clId="{1DD2BE58-6394-446D-BC3B-31E195F5054C}" dt="2024-05-07T20:52:42.739" v="245" actId="2696"/>
        <pc:sldMkLst>
          <pc:docMk/>
          <pc:sldMk cId="3750199079" sldId="446"/>
        </pc:sldMkLst>
      </pc:sldChg>
      <pc:sldChg chg="del">
        <pc:chgData name="Chavarria, Nicole" userId="59465f16-f52e-4fac-9696-8351220b84a8" providerId="ADAL" clId="{1DD2BE58-6394-446D-BC3B-31E195F5054C}" dt="2024-05-07T20:47:21.917" v="149" actId="2696"/>
        <pc:sldMkLst>
          <pc:docMk/>
          <pc:sldMk cId="1508842044" sldId="447"/>
        </pc:sldMkLst>
      </pc:sldChg>
      <pc:sldChg chg="del">
        <pc:chgData name="Chavarria, Nicole" userId="59465f16-f52e-4fac-9696-8351220b84a8" providerId="ADAL" clId="{1DD2BE58-6394-446D-BC3B-31E195F5054C}" dt="2024-05-07T20:51:36.526" v="228" actId="2696"/>
        <pc:sldMkLst>
          <pc:docMk/>
          <pc:sldMk cId="1992381038" sldId="463"/>
        </pc:sldMkLst>
      </pc:sldChg>
      <pc:sldChg chg="del">
        <pc:chgData name="Chavarria, Nicole" userId="59465f16-f52e-4fac-9696-8351220b84a8" providerId="ADAL" clId="{1DD2BE58-6394-446D-BC3B-31E195F5054C}" dt="2024-05-07T20:51:42.259" v="230" actId="2696"/>
        <pc:sldMkLst>
          <pc:docMk/>
          <pc:sldMk cId="1599038841" sldId="466"/>
        </pc:sldMkLst>
      </pc:sldChg>
      <pc:sldChg chg="del">
        <pc:chgData name="Chavarria, Nicole" userId="59465f16-f52e-4fac-9696-8351220b84a8" providerId="ADAL" clId="{1DD2BE58-6394-446D-BC3B-31E195F5054C}" dt="2024-05-07T20:51:45.148" v="231" actId="2696"/>
        <pc:sldMkLst>
          <pc:docMk/>
          <pc:sldMk cId="1619087312" sldId="467"/>
        </pc:sldMkLst>
      </pc:sldChg>
      <pc:sldChg chg="del">
        <pc:chgData name="Chavarria, Nicole" userId="59465f16-f52e-4fac-9696-8351220b84a8" providerId="ADAL" clId="{1DD2BE58-6394-446D-BC3B-31E195F5054C}" dt="2024-05-07T20:51:48.617" v="232" actId="2696"/>
        <pc:sldMkLst>
          <pc:docMk/>
          <pc:sldMk cId="3752802327" sldId="468"/>
        </pc:sldMkLst>
      </pc:sldChg>
      <pc:sldChg chg="del">
        <pc:chgData name="Chavarria, Nicole" userId="59465f16-f52e-4fac-9696-8351220b84a8" providerId="ADAL" clId="{1DD2BE58-6394-446D-BC3B-31E195F5054C}" dt="2024-05-07T20:52:19.810" v="237" actId="2696"/>
        <pc:sldMkLst>
          <pc:docMk/>
          <pc:sldMk cId="3058304072" sldId="473"/>
        </pc:sldMkLst>
      </pc:sldChg>
      <pc:sldChg chg="del">
        <pc:chgData name="Chavarria, Nicole" userId="59465f16-f52e-4fac-9696-8351220b84a8" providerId="ADAL" clId="{1DD2BE58-6394-446D-BC3B-31E195F5054C}" dt="2024-05-07T20:51:53.232" v="233" actId="2696"/>
        <pc:sldMkLst>
          <pc:docMk/>
          <pc:sldMk cId="1192754520" sldId="477"/>
        </pc:sldMkLst>
      </pc:sldChg>
      <pc:sldChg chg="del">
        <pc:chgData name="Chavarria, Nicole" userId="59465f16-f52e-4fac-9696-8351220b84a8" providerId="ADAL" clId="{1DD2BE58-6394-446D-BC3B-31E195F5054C}" dt="2024-05-07T20:52:13.535" v="234" actId="2696"/>
        <pc:sldMkLst>
          <pc:docMk/>
          <pc:sldMk cId="582562790" sldId="479"/>
        </pc:sldMkLst>
      </pc:sldChg>
      <pc:sldChg chg="del">
        <pc:chgData name="Chavarria, Nicole" userId="59465f16-f52e-4fac-9696-8351220b84a8" providerId="ADAL" clId="{1DD2BE58-6394-446D-BC3B-31E195F5054C}" dt="2024-05-07T20:52:16.135" v="235" actId="2696"/>
        <pc:sldMkLst>
          <pc:docMk/>
          <pc:sldMk cId="204110247" sldId="480"/>
        </pc:sldMkLst>
      </pc:sldChg>
      <pc:sldChg chg="del">
        <pc:chgData name="Chavarria, Nicole" userId="59465f16-f52e-4fac-9696-8351220b84a8" providerId="ADAL" clId="{1DD2BE58-6394-446D-BC3B-31E195F5054C}" dt="2024-05-07T20:52:17.963" v="236" actId="2696"/>
        <pc:sldMkLst>
          <pc:docMk/>
          <pc:sldMk cId="761650995" sldId="481"/>
        </pc:sldMkLst>
      </pc:sldChg>
      <pc:sldChg chg="del">
        <pc:chgData name="Chavarria, Nicole" userId="59465f16-f52e-4fac-9696-8351220b84a8" providerId="ADAL" clId="{1DD2BE58-6394-446D-BC3B-31E195F5054C}" dt="2024-05-07T20:50:36.590" v="219" actId="2696"/>
        <pc:sldMkLst>
          <pc:docMk/>
          <pc:sldMk cId="3309084177" sldId="482"/>
        </pc:sldMkLst>
      </pc:sldChg>
      <pc:sldChg chg="del">
        <pc:chgData name="Chavarria, Nicole" userId="59465f16-f52e-4fac-9696-8351220b84a8" providerId="ADAL" clId="{1DD2BE58-6394-446D-BC3B-31E195F5054C}" dt="2024-05-07T20:50:31.669" v="218" actId="2696"/>
        <pc:sldMkLst>
          <pc:docMk/>
          <pc:sldMk cId="1167284082" sldId="483"/>
        </pc:sldMkLst>
      </pc:sldChg>
      <pc:sldChg chg="del">
        <pc:chgData name="Chavarria, Nicole" userId="59465f16-f52e-4fac-9696-8351220b84a8" providerId="ADAL" clId="{1DD2BE58-6394-446D-BC3B-31E195F5054C}" dt="2024-05-07T20:52:22.261" v="238" actId="2696"/>
        <pc:sldMkLst>
          <pc:docMk/>
          <pc:sldMk cId="193938685" sldId="484"/>
        </pc:sldMkLst>
      </pc:sldChg>
      <pc:sldChg chg="del">
        <pc:chgData name="Chavarria, Nicole" userId="59465f16-f52e-4fac-9696-8351220b84a8" providerId="ADAL" clId="{1DD2BE58-6394-446D-BC3B-31E195F5054C}" dt="2024-05-07T20:50:28.478" v="217" actId="2696"/>
        <pc:sldMkLst>
          <pc:docMk/>
          <pc:sldMk cId="1051533857" sldId="485"/>
        </pc:sldMkLst>
      </pc:sldChg>
      <pc:sldChg chg="del">
        <pc:chgData name="Chavarria, Nicole" userId="59465f16-f52e-4fac-9696-8351220b84a8" providerId="ADAL" clId="{1DD2BE58-6394-446D-BC3B-31E195F5054C}" dt="2024-05-07T20:50:25.713" v="216" actId="2696"/>
        <pc:sldMkLst>
          <pc:docMk/>
          <pc:sldMk cId="1931873222" sldId="486"/>
        </pc:sldMkLst>
      </pc:sldChg>
      <pc:sldChg chg="del">
        <pc:chgData name="Chavarria, Nicole" userId="59465f16-f52e-4fac-9696-8351220b84a8" providerId="ADAL" clId="{1DD2BE58-6394-446D-BC3B-31E195F5054C}" dt="2024-05-07T20:49:21.967" v="209" actId="2696"/>
        <pc:sldMkLst>
          <pc:docMk/>
          <pc:sldMk cId="1217915226" sldId="489"/>
        </pc:sldMkLst>
      </pc:sldChg>
      <pc:sldChg chg="del">
        <pc:chgData name="Chavarria, Nicole" userId="59465f16-f52e-4fac-9696-8351220b84a8" providerId="ADAL" clId="{1DD2BE58-6394-446D-BC3B-31E195F5054C}" dt="2024-05-07T20:48:40.713" v="205" actId="2696"/>
        <pc:sldMkLst>
          <pc:docMk/>
          <pc:sldMk cId="286353870" sldId="490"/>
        </pc:sldMkLst>
      </pc:sldChg>
      <pc:sldChg chg="del">
        <pc:chgData name="Chavarria, Nicole" userId="59465f16-f52e-4fac-9696-8351220b84a8" providerId="ADAL" clId="{1DD2BE58-6394-446D-BC3B-31E195F5054C}" dt="2024-05-07T20:48:37.535" v="204" actId="2696"/>
        <pc:sldMkLst>
          <pc:docMk/>
          <pc:sldMk cId="1135226414" sldId="491"/>
        </pc:sldMkLst>
      </pc:sldChg>
      <pc:sldChg chg="del">
        <pc:chgData name="Chavarria, Nicole" userId="59465f16-f52e-4fac-9696-8351220b84a8" providerId="ADAL" clId="{1DD2BE58-6394-446D-BC3B-31E195F5054C}" dt="2024-05-07T20:52:35.456" v="243" actId="2696"/>
        <pc:sldMkLst>
          <pc:docMk/>
          <pc:sldMk cId="3286901446" sldId="492"/>
        </pc:sldMkLst>
      </pc:sldChg>
      <pc:sldChg chg="addSp delSp modSp mod ord modClrScheme chgLayout modNotesTx">
        <pc:chgData name="Chavarria, Nicole" userId="59465f16-f52e-4fac-9696-8351220b84a8" providerId="ADAL" clId="{1DD2BE58-6394-446D-BC3B-31E195F5054C}" dt="2024-05-31T16:16:59.759" v="886" actId="20577"/>
        <pc:sldMkLst>
          <pc:docMk/>
          <pc:sldMk cId="2966844647" sldId="493"/>
        </pc:sldMkLst>
        <pc:spChg chg="add del">
          <ac:chgData name="Chavarria, Nicole" userId="59465f16-f52e-4fac-9696-8351220b84a8" providerId="ADAL" clId="{1DD2BE58-6394-446D-BC3B-31E195F5054C}" dt="2024-05-07T20:29:51.691" v="10" actId="22"/>
          <ac:spMkLst>
            <pc:docMk/>
            <pc:sldMk cId="2966844647" sldId="493"/>
            <ac:spMk id="3" creationId="{D7AA0011-82A6-071A-36BA-D6829A48AFBE}"/>
          </ac:spMkLst>
        </pc:spChg>
        <pc:spChg chg="mod ord">
          <ac:chgData name="Chavarria, Nicole" userId="59465f16-f52e-4fac-9696-8351220b84a8" providerId="ADAL" clId="{1DD2BE58-6394-446D-BC3B-31E195F5054C}" dt="2024-05-07T20:32:04.331" v="34" actId="26606"/>
          <ac:spMkLst>
            <pc:docMk/>
            <pc:sldMk cId="2966844647" sldId="493"/>
            <ac:spMk id="6" creationId="{00000000-0000-0000-0000-000000000000}"/>
          </ac:spMkLst>
        </pc:spChg>
        <pc:spChg chg="del">
          <ac:chgData name="Chavarria, Nicole" userId="59465f16-f52e-4fac-9696-8351220b84a8" providerId="ADAL" clId="{1DD2BE58-6394-446D-BC3B-31E195F5054C}" dt="2024-05-07T20:37:49.625" v="73" actId="478"/>
          <ac:spMkLst>
            <pc:docMk/>
            <pc:sldMk cId="2966844647" sldId="493"/>
            <ac:spMk id="9" creationId="{2A6C945F-6606-CAD2-4DF7-E2922DDCB11B}"/>
          </ac:spMkLst>
        </pc:spChg>
        <pc:spChg chg="mod">
          <ac:chgData name="Chavarria, Nicole" userId="59465f16-f52e-4fac-9696-8351220b84a8" providerId="ADAL" clId="{1DD2BE58-6394-446D-BC3B-31E195F5054C}" dt="2024-05-07T20:32:04.331" v="34" actId="26606"/>
          <ac:spMkLst>
            <pc:docMk/>
            <pc:sldMk cId="2966844647" sldId="493"/>
            <ac:spMk id="10" creationId="{00000000-0000-0000-0000-000000000000}"/>
          </ac:spMkLst>
        </pc:spChg>
        <pc:spChg chg="add del mod">
          <ac:chgData name="Chavarria, Nicole" userId="59465f16-f52e-4fac-9696-8351220b84a8" providerId="ADAL" clId="{1DD2BE58-6394-446D-BC3B-31E195F5054C}" dt="2024-05-07T20:31:57.017" v="27" actId="26606"/>
          <ac:spMkLst>
            <pc:docMk/>
            <pc:sldMk cId="2966844647" sldId="493"/>
            <ac:spMk id="15" creationId="{6A7CB61C-A9CD-3257-4D30-C1F773964AB1}"/>
          </ac:spMkLst>
        </pc:spChg>
        <pc:spChg chg="add del mod">
          <ac:chgData name="Chavarria, Nicole" userId="59465f16-f52e-4fac-9696-8351220b84a8" providerId="ADAL" clId="{1DD2BE58-6394-446D-BC3B-31E195F5054C}" dt="2024-05-07T20:31:58.459" v="29" actId="26606"/>
          <ac:spMkLst>
            <pc:docMk/>
            <pc:sldMk cId="2966844647" sldId="493"/>
            <ac:spMk id="17" creationId="{6E949A1B-5AA5-BA25-09DC-9ED17DD8DF02}"/>
          </ac:spMkLst>
        </pc:spChg>
        <pc:spChg chg="add del mod">
          <ac:chgData name="Chavarria, Nicole" userId="59465f16-f52e-4fac-9696-8351220b84a8" providerId="ADAL" clId="{1DD2BE58-6394-446D-BC3B-31E195F5054C}" dt="2024-05-07T20:32:00.615" v="31" actId="26606"/>
          <ac:spMkLst>
            <pc:docMk/>
            <pc:sldMk cId="2966844647" sldId="493"/>
            <ac:spMk id="19" creationId="{1168F515-63F8-EC45-15ED-45404B335570}"/>
          </ac:spMkLst>
        </pc:spChg>
        <pc:spChg chg="add del mod">
          <ac:chgData name="Chavarria, Nicole" userId="59465f16-f52e-4fac-9696-8351220b84a8" providerId="ADAL" clId="{1DD2BE58-6394-446D-BC3B-31E195F5054C}" dt="2024-05-07T20:32:04.314" v="33" actId="26606"/>
          <ac:spMkLst>
            <pc:docMk/>
            <pc:sldMk cId="2966844647" sldId="493"/>
            <ac:spMk id="21" creationId="{6F5269EC-EC9E-497F-0B83-C478865DD082}"/>
          </ac:spMkLst>
        </pc:spChg>
        <pc:graphicFrameChg chg="add mod modGraphic">
          <ac:chgData name="Chavarria, Nicole" userId="59465f16-f52e-4fac-9696-8351220b84a8" providerId="ADAL" clId="{1DD2BE58-6394-446D-BC3B-31E195F5054C}" dt="2024-05-07T20:44:22.519" v="132"/>
          <ac:graphicFrameMkLst>
            <pc:docMk/>
            <pc:sldMk cId="2966844647" sldId="493"/>
            <ac:graphicFrameMk id="4" creationId="{DC25785E-65FF-DDAA-B392-44740F9C1742}"/>
          </ac:graphicFrameMkLst>
        </pc:graphicFrameChg>
        <pc:graphicFrameChg chg="add mod modGraphic">
          <ac:chgData name="Chavarria, Nicole" userId="59465f16-f52e-4fac-9696-8351220b84a8" providerId="ADAL" clId="{1DD2BE58-6394-446D-BC3B-31E195F5054C}" dt="2024-05-07T20:44:46.439" v="146" actId="20577"/>
          <ac:graphicFrameMkLst>
            <pc:docMk/>
            <pc:sldMk cId="2966844647" sldId="493"/>
            <ac:graphicFrameMk id="5" creationId="{B6DB7302-9BFF-FA8B-EB90-1A463C45BD80}"/>
          </ac:graphicFrameMkLst>
        </pc:graphicFrameChg>
        <pc:graphicFrameChg chg="add mod ord modGraphic">
          <ac:chgData name="Chavarria, Nicole" userId="59465f16-f52e-4fac-9696-8351220b84a8" providerId="ADAL" clId="{1DD2BE58-6394-446D-BC3B-31E195F5054C}" dt="2024-05-31T16:16:59.759" v="886" actId="20577"/>
          <ac:graphicFrameMkLst>
            <pc:docMk/>
            <pc:sldMk cId="2966844647" sldId="493"/>
            <ac:graphicFrameMk id="7" creationId="{3B0C6FD2-6FE9-6B07-5F93-0F7B3FD967ED}"/>
          </ac:graphicFrameMkLst>
        </pc:graphicFrameChg>
        <pc:graphicFrameChg chg="add mod modGraphic">
          <ac:chgData name="Chavarria, Nicole" userId="59465f16-f52e-4fac-9696-8351220b84a8" providerId="ADAL" clId="{1DD2BE58-6394-446D-BC3B-31E195F5054C}" dt="2024-05-07T20:44:34.473" v="133"/>
          <ac:graphicFrameMkLst>
            <pc:docMk/>
            <pc:sldMk cId="2966844647" sldId="493"/>
            <ac:graphicFrameMk id="11" creationId="{3392EC7E-1918-F37D-CDA9-16C229A619EF}"/>
          </ac:graphicFrameMkLst>
        </pc:graphicFrameChg>
        <pc:graphicFrameChg chg="add mod modGraphic">
          <ac:chgData name="Chavarria, Nicole" userId="59465f16-f52e-4fac-9696-8351220b84a8" providerId="ADAL" clId="{1DD2BE58-6394-446D-BC3B-31E195F5054C}" dt="2024-05-07T20:44:52.118" v="147" actId="14100"/>
          <ac:graphicFrameMkLst>
            <pc:docMk/>
            <pc:sldMk cId="2966844647" sldId="493"/>
            <ac:graphicFrameMk id="12" creationId="{0D8E0659-F95F-40D2-46E5-F9B72F8385AD}"/>
          </ac:graphicFrameMkLst>
        </pc:graphicFrameChg>
      </pc:sldChg>
      <pc:sldChg chg="del">
        <pc:chgData name="Chavarria, Nicole" userId="59465f16-f52e-4fac-9696-8351220b84a8" providerId="ADAL" clId="{1DD2BE58-6394-446D-BC3B-31E195F5054C}" dt="2024-05-07T20:51:11.351" v="222" actId="2696"/>
        <pc:sldMkLst>
          <pc:docMk/>
          <pc:sldMk cId="2745698994" sldId="495"/>
        </pc:sldMkLst>
      </pc:sldChg>
      <pc:sldChg chg="del">
        <pc:chgData name="Chavarria, Nicole" userId="59465f16-f52e-4fac-9696-8351220b84a8" providerId="ADAL" clId="{1DD2BE58-6394-446D-BC3B-31E195F5054C}" dt="2024-05-07T20:51:07.882" v="221" actId="2696"/>
        <pc:sldMkLst>
          <pc:docMk/>
          <pc:sldMk cId="15981988" sldId="497"/>
        </pc:sldMkLst>
      </pc:sldChg>
      <pc:sldChg chg="del">
        <pc:chgData name="Chavarria, Nicole" userId="59465f16-f52e-4fac-9696-8351220b84a8" providerId="ADAL" clId="{1DD2BE58-6394-446D-BC3B-31E195F5054C}" dt="2024-05-07T20:51:39.582" v="229" actId="2696"/>
        <pc:sldMkLst>
          <pc:docMk/>
          <pc:sldMk cId="3167735654" sldId="498"/>
        </pc:sldMkLst>
      </pc:sldChg>
      <pc:sldChg chg="del">
        <pc:chgData name="Chavarria, Nicole" userId="59465f16-f52e-4fac-9696-8351220b84a8" providerId="ADAL" clId="{1DD2BE58-6394-446D-BC3B-31E195F5054C}" dt="2024-05-07T20:51:03.853" v="220" actId="2696"/>
        <pc:sldMkLst>
          <pc:docMk/>
          <pc:sldMk cId="1904366802" sldId="499"/>
        </pc:sldMkLst>
      </pc:sldChg>
      <pc:sldChg chg="del">
        <pc:chgData name="Chavarria, Nicole" userId="59465f16-f52e-4fac-9696-8351220b84a8" providerId="ADAL" clId="{1DD2BE58-6394-446D-BC3B-31E195F5054C}" dt="2024-05-07T20:51:33.498" v="227" actId="2696"/>
        <pc:sldMkLst>
          <pc:docMk/>
          <pc:sldMk cId="3865004507" sldId="500"/>
        </pc:sldMkLst>
      </pc:sldChg>
      <pc:sldChg chg="addSp delSp modSp mod">
        <pc:chgData name="Chavarria, Nicole" userId="59465f16-f52e-4fac-9696-8351220b84a8" providerId="ADAL" clId="{1DD2BE58-6394-446D-BC3B-31E195F5054C}" dt="2024-05-28T19:39:04.331" v="726" actId="478"/>
        <pc:sldMkLst>
          <pc:docMk/>
          <pc:sldMk cId="966376479" sldId="507"/>
        </pc:sldMkLst>
        <pc:spChg chg="del mod">
          <ac:chgData name="Chavarria, Nicole" userId="59465f16-f52e-4fac-9696-8351220b84a8" providerId="ADAL" clId="{1DD2BE58-6394-446D-BC3B-31E195F5054C}" dt="2024-05-28T19:38:48.792" v="725" actId="478"/>
          <ac:spMkLst>
            <pc:docMk/>
            <pc:sldMk cId="966376479" sldId="507"/>
            <ac:spMk id="2" creationId="{DD3E9394-8F12-4664-1399-56007181728D}"/>
          </ac:spMkLst>
        </pc:spChg>
        <pc:spChg chg="add del mod">
          <ac:chgData name="Chavarria, Nicole" userId="59465f16-f52e-4fac-9696-8351220b84a8" providerId="ADAL" clId="{1DD2BE58-6394-446D-BC3B-31E195F5054C}" dt="2024-05-28T19:39:04.331" v="726" actId="478"/>
          <ac:spMkLst>
            <pc:docMk/>
            <pc:sldMk cId="966376479" sldId="507"/>
            <ac:spMk id="11" creationId="{09A1E208-8C8E-9029-C7D6-EBD46E666435}"/>
          </ac:spMkLst>
        </pc:spChg>
      </pc:sldChg>
      <pc:sldChg chg="modNotes">
        <pc:chgData name="Chavarria, Nicole" userId="59465f16-f52e-4fac-9696-8351220b84a8" providerId="ADAL" clId="{1DD2BE58-6394-446D-BC3B-31E195F5054C}" dt="2024-05-31T16:16:50.876" v="866" actId="27636"/>
        <pc:sldMkLst>
          <pc:docMk/>
          <pc:sldMk cId="3542634899" sldId="508"/>
        </pc:sldMkLst>
      </pc:sldChg>
      <pc:sldChg chg="addSp delSp modSp del mod ord modNotes modNotesTx">
        <pc:chgData name="Chavarria, Nicole" userId="59465f16-f52e-4fac-9696-8351220b84a8" providerId="ADAL" clId="{1DD2BE58-6394-446D-BC3B-31E195F5054C}" dt="2024-06-06T18:12:44.010" v="1088" actId="2696"/>
        <pc:sldMkLst>
          <pc:docMk/>
          <pc:sldMk cId="3929932632" sldId="509"/>
        </pc:sldMkLst>
        <pc:spChg chg="del">
          <ac:chgData name="Chavarria, Nicole" userId="59465f16-f52e-4fac-9696-8351220b84a8" providerId="ADAL" clId="{1DD2BE58-6394-446D-BC3B-31E195F5054C}" dt="2024-05-17T19:58:14.853" v="267"/>
          <ac:spMkLst>
            <pc:docMk/>
            <pc:sldMk cId="3929932632" sldId="509"/>
            <ac:spMk id="4" creationId="{C98977C1-5106-C65D-6D3A-AB85BF8DEFAD}"/>
          </ac:spMkLst>
        </pc:spChg>
        <pc:spChg chg="add del mod">
          <ac:chgData name="Chavarria, Nicole" userId="59465f16-f52e-4fac-9696-8351220b84a8" providerId="ADAL" clId="{1DD2BE58-6394-446D-BC3B-31E195F5054C}" dt="2024-05-17T19:58:20.190" v="268" actId="478"/>
          <ac:spMkLst>
            <pc:docMk/>
            <pc:sldMk cId="3929932632" sldId="509"/>
            <ac:spMk id="5" creationId="{494127E9-0DA4-8267-2736-AFBCAB82C378}"/>
          </ac:spMkLst>
        </pc:spChg>
        <pc:graphicFrameChg chg="add mod">
          <ac:chgData name="Chavarria, Nicole" userId="59465f16-f52e-4fac-9696-8351220b84a8" providerId="ADAL" clId="{1DD2BE58-6394-446D-BC3B-31E195F5054C}" dt="2024-05-31T15:11:11.669" v="853" actId="1076"/>
          <ac:graphicFrameMkLst>
            <pc:docMk/>
            <pc:sldMk cId="3929932632" sldId="509"/>
            <ac:graphicFrameMk id="6" creationId="{D01765DE-86D8-67A6-912A-9F6C2296EA2A}"/>
          </ac:graphicFrameMkLst>
        </pc:graphicFrameChg>
      </pc:sldChg>
      <pc:sldChg chg="addSp modSp del mod modNotes modNotesTx">
        <pc:chgData name="Chavarria, Nicole" userId="59465f16-f52e-4fac-9696-8351220b84a8" providerId="ADAL" clId="{1DD2BE58-6394-446D-BC3B-31E195F5054C}" dt="2024-06-12T17:53:57.298" v="2204" actId="2696"/>
        <pc:sldMkLst>
          <pc:docMk/>
          <pc:sldMk cId="3247095912" sldId="511"/>
        </pc:sldMkLst>
        <pc:spChg chg="add mod">
          <ac:chgData name="Chavarria, Nicole" userId="59465f16-f52e-4fac-9696-8351220b84a8" providerId="ADAL" clId="{1DD2BE58-6394-446D-BC3B-31E195F5054C}" dt="2024-06-06T18:32:04.233" v="1623" actId="20577"/>
          <ac:spMkLst>
            <pc:docMk/>
            <pc:sldMk cId="3247095912" sldId="511"/>
            <ac:spMk id="4" creationId="{255E5197-91F6-466B-D2FC-E63E3DD68832}"/>
          </ac:spMkLst>
        </pc:spChg>
        <pc:spChg chg="add mod">
          <ac:chgData name="Chavarria, Nicole" userId="59465f16-f52e-4fac-9696-8351220b84a8" providerId="ADAL" clId="{1DD2BE58-6394-446D-BC3B-31E195F5054C}" dt="2024-06-06T18:34:17.473" v="1774" actId="20577"/>
          <ac:spMkLst>
            <pc:docMk/>
            <pc:sldMk cId="3247095912" sldId="511"/>
            <ac:spMk id="5" creationId="{20677B0F-7F92-2617-3D8F-A21AE836FBDA}"/>
          </ac:spMkLst>
        </pc:spChg>
        <pc:spChg chg="add mod">
          <ac:chgData name="Chavarria, Nicole" userId="59465f16-f52e-4fac-9696-8351220b84a8" providerId="ADAL" clId="{1DD2BE58-6394-446D-BC3B-31E195F5054C}" dt="2024-06-06T18:34:20.523" v="1775" actId="20577"/>
          <ac:spMkLst>
            <pc:docMk/>
            <pc:sldMk cId="3247095912" sldId="511"/>
            <ac:spMk id="7" creationId="{EDB0AAB5-5EF7-D41A-55A8-92556DB54CC6}"/>
          </ac:spMkLst>
        </pc:spChg>
        <pc:spChg chg="add mod">
          <ac:chgData name="Chavarria, Nicole" userId="59465f16-f52e-4fac-9696-8351220b84a8" providerId="ADAL" clId="{1DD2BE58-6394-446D-BC3B-31E195F5054C}" dt="2024-06-06T18:35:08.132" v="1829" actId="20577"/>
          <ac:spMkLst>
            <pc:docMk/>
            <pc:sldMk cId="3247095912" sldId="511"/>
            <ac:spMk id="8" creationId="{80B79568-C0E4-30CA-C069-658E4D167AF7}"/>
          </ac:spMkLst>
        </pc:spChg>
        <pc:graphicFrameChg chg="mod">
          <ac:chgData name="Chavarria, Nicole" userId="59465f16-f52e-4fac-9696-8351220b84a8" providerId="ADAL" clId="{1DD2BE58-6394-446D-BC3B-31E195F5054C}" dt="2024-06-06T19:02:56.230" v="1858"/>
          <ac:graphicFrameMkLst>
            <pc:docMk/>
            <pc:sldMk cId="3247095912" sldId="511"/>
            <ac:graphicFrameMk id="6" creationId="{DF88A53D-2A72-4ABC-E281-9AB22199576F}"/>
          </ac:graphicFrameMkLst>
        </pc:graphicFrameChg>
      </pc:sldChg>
      <pc:sldChg chg="modNotes">
        <pc:chgData name="Chavarria, Nicole" userId="59465f16-f52e-4fac-9696-8351220b84a8" providerId="ADAL" clId="{1DD2BE58-6394-446D-BC3B-31E195F5054C}" dt="2024-05-17T19:55:37.489" v="265" actId="27636"/>
        <pc:sldMkLst>
          <pc:docMk/>
          <pc:sldMk cId="2570224678" sldId="513"/>
        </pc:sldMkLst>
      </pc:sldChg>
      <pc:sldChg chg="addSp delSp modSp mod">
        <pc:chgData name="Chavarria, Nicole" userId="59465f16-f52e-4fac-9696-8351220b84a8" providerId="ADAL" clId="{1DD2BE58-6394-446D-BC3B-31E195F5054C}" dt="2024-05-28T19:17:28.576" v="723" actId="478"/>
        <pc:sldMkLst>
          <pc:docMk/>
          <pc:sldMk cId="3042953501" sldId="516"/>
        </pc:sldMkLst>
        <pc:spChg chg="del">
          <ac:chgData name="Chavarria, Nicole" userId="59465f16-f52e-4fac-9696-8351220b84a8" providerId="ADAL" clId="{1DD2BE58-6394-446D-BC3B-31E195F5054C}" dt="2024-05-28T19:17:28.576" v="723" actId="478"/>
          <ac:spMkLst>
            <pc:docMk/>
            <pc:sldMk cId="3042953501" sldId="516"/>
            <ac:spMk id="2" creationId="{8941BB55-9918-2D12-0D56-CD70A0304529}"/>
          </ac:spMkLst>
        </pc:spChg>
        <pc:spChg chg="add mod">
          <ac:chgData name="Chavarria, Nicole" userId="59465f16-f52e-4fac-9696-8351220b84a8" providerId="ADAL" clId="{1DD2BE58-6394-446D-BC3B-31E195F5054C}" dt="2024-05-28T19:17:28.576" v="723" actId="478"/>
          <ac:spMkLst>
            <pc:docMk/>
            <pc:sldMk cId="3042953501" sldId="516"/>
            <ac:spMk id="7" creationId="{ED00FDC9-9CFC-6709-6C22-2017CD2DC501}"/>
          </ac:spMkLst>
        </pc:spChg>
      </pc:sldChg>
      <pc:sldChg chg="new del">
        <pc:chgData name="Chavarria, Nicole" userId="59465f16-f52e-4fac-9696-8351220b84a8" providerId="ADAL" clId="{1DD2BE58-6394-446D-BC3B-31E195F5054C}" dt="2024-05-31T18:51:47.457" v="953" actId="47"/>
        <pc:sldMkLst>
          <pc:docMk/>
          <pc:sldMk cId="1364443232" sldId="520"/>
        </pc:sldMkLst>
      </pc:sldChg>
      <pc:sldChg chg="new del">
        <pc:chgData name="Chavarria, Nicole" userId="59465f16-f52e-4fac-9696-8351220b84a8" providerId="ADAL" clId="{1DD2BE58-6394-446D-BC3B-31E195F5054C}" dt="2024-05-31T18:50:54.722" v="897" actId="2696"/>
        <pc:sldMkLst>
          <pc:docMk/>
          <pc:sldMk cId="3994421022" sldId="521"/>
        </pc:sldMkLst>
      </pc:sldChg>
      <pc:sldChg chg="addSp delSp modSp add del mod modNotes modNotesTx">
        <pc:chgData name="Chavarria, Nicole" userId="59465f16-f52e-4fac-9696-8351220b84a8" providerId="ADAL" clId="{1DD2BE58-6394-446D-BC3B-31E195F5054C}" dt="2024-06-12T17:47:01.214" v="2102" actId="2696"/>
        <pc:sldMkLst>
          <pc:docMk/>
          <pc:sldMk cId="1472814607" sldId="522"/>
        </pc:sldMkLst>
        <pc:spChg chg="mod">
          <ac:chgData name="Chavarria, Nicole" userId="59465f16-f52e-4fac-9696-8351220b84a8" providerId="ADAL" clId="{1DD2BE58-6394-446D-BC3B-31E195F5054C}" dt="2024-06-12T17:37:12.926" v="2027" actId="14100"/>
          <ac:spMkLst>
            <pc:docMk/>
            <pc:sldMk cId="1472814607" sldId="522"/>
            <ac:spMk id="2" creationId="{D58677B1-CC98-EDE7-0313-D2819DE69B3E}"/>
          </ac:spMkLst>
        </pc:spChg>
        <pc:spChg chg="add mod">
          <ac:chgData name="Chavarria, Nicole" userId="59465f16-f52e-4fac-9696-8351220b84a8" providerId="ADAL" clId="{1DD2BE58-6394-446D-BC3B-31E195F5054C}" dt="2024-06-06T19:06:21.679" v="2009" actId="20577"/>
          <ac:spMkLst>
            <pc:docMk/>
            <pc:sldMk cId="1472814607" sldId="522"/>
            <ac:spMk id="5" creationId="{79BE1C9A-8CE2-721D-EA26-C556B7016892}"/>
          </ac:spMkLst>
        </pc:spChg>
        <pc:spChg chg="add del mod">
          <ac:chgData name="Chavarria, Nicole" userId="59465f16-f52e-4fac-9696-8351220b84a8" providerId="ADAL" clId="{1DD2BE58-6394-446D-BC3B-31E195F5054C}" dt="2024-06-12T17:36:44.168" v="2024" actId="478"/>
          <ac:spMkLst>
            <pc:docMk/>
            <pc:sldMk cId="1472814607" sldId="522"/>
            <ac:spMk id="8" creationId="{F8D511FE-9096-480A-7615-3464FD6CE56A}"/>
          </ac:spMkLst>
        </pc:spChg>
        <pc:spChg chg="add del mod">
          <ac:chgData name="Chavarria, Nicole" userId="59465f16-f52e-4fac-9696-8351220b84a8" providerId="ADAL" clId="{1DD2BE58-6394-446D-BC3B-31E195F5054C}" dt="2024-06-12T17:42:00.510" v="2043" actId="478"/>
          <ac:spMkLst>
            <pc:docMk/>
            <pc:sldMk cId="1472814607" sldId="522"/>
            <ac:spMk id="10" creationId="{2AFF2F63-8801-DFB6-AC91-9E00DBE52BA4}"/>
          </ac:spMkLst>
        </pc:spChg>
        <pc:spChg chg="add del mod">
          <ac:chgData name="Chavarria, Nicole" userId="59465f16-f52e-4fac-9696-8351220b84a8" providerId="ADAL" clId="{1DD2BE58-6394-446D-BC3B-31E195F5054C}" dt="2024-06-12T17:41:59.789" v="2042"/>
          <ac:spMkLst>
            <pc:docMk/>
            <pc:sldMk cId="1472814607" sldId="522"/>
            <ac:spMk id="13" creationId="{F9392F48-1BE9-6BED-60EB-0BED9A1C42BA}"/>
          </ac:spMkLst>
        </pc:spChg>
        <pc:graphicFrameChg chg="add del mod">
          <ac:chgData name="Chavarria, Nicole" userId="59465f16-f52e-4fac-9696-8351220b84a8" providerId="ADAL" clId="{1DD2BE58-6394-446D-BC3B-31E195F5054C}" dt="2024-06-12T17:42:00.510" v="2043" actId="478"/>
          <ac:graphicFrameMkLst>
            <pc:docMk/>
            <pc:sldMk cId="1472814607" sldId="522"/>
            <ac:graphicFrameMk id="6" creationId="{D01765DE-86D8-67A6-912A-9F6C2296EA2A}"/>
          </ac:graphicFrameMkLst>
        </pc:graphicFrameChg>
      </pc:sldChg>
      <pc:sldChg chg="addSp delSp modSp add del mod">
        <pc:chgData name="Chavarria, Nicole" userId="59465f16-f52e-4fac-9696-8351220b84a8" providerId="ADAL" clId="{1DD2BE58-6394-446D-BC3B-31E195F5054C}" dt="2024-06-06T18:13:30.126" v="1091" actId="2696"/>
        <pc:sldMkLst>
          <pc:docMk/>
          <pc:sldMk cId="3143573163" sldId="523"/>
        </pc:sldMkLst>
        <pc:spChg chg="add mod">
          <ac:chgData name="Chavarria, Nicole" userId="59465f16-f52e-4fac-9696-8351220b84a8" providerId="ADAL" clId="{1DD2BE58-6394-446D-BC3B-31E195F5054C}" dt="2024-05-31T18:53:46.144" v="969"/>
          <ac:spMkLst>
            <pc:docMk/>
            <pc:sldMk cId="3143573163" sldId="523"/>
            <ac:spMk id="5" creationId="{EAB1FF68-3566-784F-1C26-7E8BFC601E11}"/>
          </ac:spMkLst>
        </pc:spChg>
        <pc:graphicFrameChg chg="add del mod">
          <ac:chgData name="Chavarria, Nicole" userId="59465f16-f52e-4fac-9696-8351220b84a8" providerId="ADAL" clId="{1DD2BE58-6394-446D-BC3B-31E195F5054C}" dt="2024-05-31T18:53:37.614" v="968" actId="478"/>
          <ac:graphicFrameMkLst>
            <pc:docMk/>
            <pc:sldMk cId="3143573163" sldId="523"/>
            <ac:graphicFrameMk id="4" creationId="{5E76BA2B-1296-D218-DCA3-C3702AD8F4A6}"/>
          </ac:graphicFrameMkLst>
        </pc:graphicFrameChg>
        <pc:graphicFrameChg chg="mod">
          <ac:chgData name="Chavarria, Nicole" userId="59465f16-f52e-4fac-9696-8351220b84a8" providerId="ADAL" clId="{1DD2BE58-6394-446D-BC3B-31E195F5054C}" dt="2024-06-06T18:10:35.767" v="1084"/>
          <ac:graphicFrameMkLst>
            <pc:docMk/>
            <pc:sldMk cId="3143573163" sldId="523"/>
            <ac:graphicFrameMk id="6" creationId="{DF88A53D-2A72-4ABC-E281-9AB22199576F}"/>
          </ac:graphicFrameMkLst>
        </pc:graphicFrameChg>
      </pc:sldChg>
      <pc:sldChg chg="modNotes">
        <pc:chgData name="Chavarria, Nicole" userId="59465f16-f52e-4fac-9696-8351220b84a8" providerId="ADAL" clId="{1DD2BE58-6394-446D-BC3B-31E195F5054C}" dt="2024-06-06T18:21:30.908" v="1294" actId="27636"/>
        <pc:sldMkLst>
          <pc:docMk/>
          <pc:sldMk cId="594588136" sldId="524"/>
        </pc:sldMkLst>
      </pc:sldChg>
      <pc:sldChg chg="modSp new mod">
        <pc:chgData name="Chavarria, Nicole" userId="59465f16-f52e-4fac-9696-8351220b84a8" providerId="ADAL" clId="{1DD2BE58-6394-446D-BC3B-31E195F5054C}" dt="2024-06-06T18:14:59.129" v="1115" actId="255"/>
        <pc:sldMkLst>
          <pc:docMk/>
          <pc:sldMk cId="1397726572" sldId="527"/>
        </pc:sldMkLst>
        <pc:spChg chg="mod">
          <ac:chgData name="Chavarria, Nicole" userId="59465f16-f52e-4fac-9696-8351220b84a8" providerId="ADAL" clId="{1DD2BE58-6394-446D-BC3B-31E195F5054C}" dt="2024-06-06T18:14:00.488" v="1108" actId="20577"/>
          <ac:spMkLst>
            <pc:docMk/>
            <pc:sldMk cId="1397726572" sldId="527"/>
            <ac:spMk id="2" creationId="{89362752-F234-4FF6-8183-B8EA493AE4B2}"/>
          </ac:spMkLst>
        </pc:spChg>
        <pc:spChg chg="mod">
          <ac:chgData name="Chavarria, Nicole" userId="59465f16-f52e-4fac-9696-8351220b84a8" providerId="ADAL" clId="{1DD2BE58-6394-446D-BC3B-31E195F5054C}" dt="2024-06-06T18:14:59.129" v="1115" actId="255"/>
          <ac:spMkLst>
            <pc:docMk/>
            <pc:sldMk cId="1397726572" sldId="527"/>
            <ac:spMk id="3" creationId="{EE2CC1FD-971A-F9CE-6434-FC8EB33581C6}"/>
          </ac:spMkLst>
        </pc:spChg>
      </pc:sldChg>
      <pc:sldChg chg="modNotes">
        <pc:chgData name="Chavarria, Nicole" userId="59465f16-f52e-4fac-9696-8351220b84a8" providerId="ADAL" clId="{1DD2BE58-6394-446D-BC3B-31E195F5054C}" dt="2024-06-12T17:34:46.933" v="2013" actId="27636"/>
        <pc:sldMkLst>
          <pc:docMk/>
          <pc:sldMk cId="3357390252" sldId="531"/>
        </pc:sldMkLst>
      </pc:sldChg>
      <pc:sldChg chg="addSp delSp modSp add mod">
        <pc:chgData name="Chavarria, Nicole" userId="59465f16-f52e-4fac-9696-8351220b84a8" providerId="ADAL" clId="{1DD2BE58-6394-446D-BC3B-31E195F5054C}" dt="2024-06-12T17:54:24.073" v="2207" actId="1076"/>
        <pc:sldMkLst>
          <pc:docMk/>
          <pc:sldMk cId="2045849986" sldId="532"/>
        </pc:sldMkLst>
        <pc:spChg chg="mod">
          <ac:chgData name="Chavarria, Nicole" userId="59465f16-f52e-4fac-9696-8351220b84a8" providerId="ADAL" clId="{1DD2BE58-6394-446D-BC3B-31E195F5054C}" dt="2024-06-12T17:46:31.802" v="2095" actId="1076"/>
          <ac:spMkLst>
            <pc:docMk/>
            <pc:sldMk cId="2045849986" sldId="532"/>
            <ac:spMk id="2" creationId="{D58677B1-CC98-EDE7-0313-D2819DE69B3E}"/>
          </ac:spMkLst>
        </pc:spChg>
        <pc:spChg chg="mod">
          <ac:chgData name="Chavarria, Nicole" userId="59465f16-f52e-4fac-9696-8351220b84a8" providerId="ADAL" clId="{1DD2BE58-6394-446D-BC3B-31E195F5054C}" dt="2024-06-12T17:54:24.073" v="2207" actId="1076"/>
          <ac:spMkLst>
            <pc:docMk/>
            <pc:sldMk cId="2045849986" sldId="532"/>
            <ac:spMk id="5" creationId="{79BE1C9A-8CE2-721D-EA26-C556B7016892}"/>
          </ac:spMkLst>
        </pc:spChg>
        <pc:spChg chg="add del mod">
          <ac:chgData name="Chavarria, Nicole" userId="59465f16-f52e-4fac-9696-8351220b84a8" providerId="ADAL" clId="{1DD2BE58-6394-446D-BC3B-31E195F5054C}" dt="2024-06-12T17:42:22.482" v="2047" actId="478"/>
          <ac:spMkLst>
            <pc:docMk/>
            <pc:sldMk cId="2045849986" sldId="532"/>
            <ac:spMk id="8" creationId="{174F3E74-8D38-9DD1-4092-4FAE272E80D0}"/>
          </ac:spMkLst>
        </pc:spChg>
        <pc:spChg chg="add mod ord">
          <ac:chgData name="Chavarria, Nicole" userId="59465f16-f52e-4fac-9696-8351220b84a8" providerId="ADAL" clId="{1DD2BE58-6394-446D-BC3B-31E195F5054C}" dt="2024-06-12T17:44:47.242" v="2072" actId="166"/>
          <ac:spMkLst>
            <pc:docMk/>
            <pc:sldMk cId="2045849986" sldId="532"/>
            <ac:spMk id="9" creationId="{9ACEC880-379D-B0CC-EC70-8505DA953DD9}"/>
          </ac:spMkLst>
        </pc:spChg>
        <pc:spChg chg="add mod">
          <ac:chgData name="Chavarria, Nicole" userId="59465f16-f52e-4fac-9696-8351220b84a8" providerId="ADAL" clId="{1DD2BE58-6394-446D-BC3B-31E195F5054C}" dt="2024-06-12T17:44:19.535" v="2068" actId="14100"/>
          <ac:spMkLst>
            <pc:docMk/>
            <pc:sldMk cId="2045849986" sldId="532"/>
            <ac:spMk id="10" creationId="{62454BE2-F56A-D243-EC64-9AEC7981658B}"/>
          </ac:spMkLst>
        </pc:spChg>
        <pc:spChg chg="add mod">
          <ac:chgData name="Chavarria, Nicole" userId="59465f16-f52e-4fac-9696-8351220b84a8" providerId="ADAL" clId="{1DD2BE58-6394-446D-BC3B-31E195F5054C}" dt="2024-06-12T17:45:23.719" v="2073"/>
          <ac:spMkLst>
            <pc:docMk/>
            <pc:sldMk cId="2045849986" sldId="532"/>
            <ac:spMk id="12" creationId="{3295CB6D-B891-997A-4CC5-9A2C7789FFAF}"/>
          </ac:spMkLst>
        </pc:spChg>
        <pc:spChg chg="add mod">
          <ac:chgData name="Chavarria, Nicole" userId="59465f16-f52e-4fac-9696-8351220b84a8" providerId="ADAL" clId="{1DD2BE58-6394-446D-BC3B-31E195F5054C}" dt="2024-06-12T17:45:23.719" v="2073"/>
          <ac:spMkLst>
            <pc:docMk/>
            <pc:sldMk cId="2045849986" sldId="532"/>
            <ac:spMk id="13" creationId="{6010B0AF-05A0-2CFB-D5C3-4DD23B8C8CA8}"/>
          </ac:spMkLst>
        </pc:spChg>
        <pc:spChg chg="add mod">
          <ac:chgData name="Chavarria, Nicole" userId="59465f16-f52e-4fac-9696-8351220b84a8" providerId="ADAL" clId="{1DD2BE58-6394-446D-BC3B-31E195F5054C}" dt="2024-06-12T17:45:35.357" v="2075"/>
          <ac:spMkLst>
            <pc:docMk/>
            <pc:sldMk cId="2045849986" sldId="532"/>
            <ac:spMk id="15" creationId="{1574C130-4A6B-0680-D71C-D80E3909FA4C}"/>
          </ac:spMkLst>
        </pc:spChg>
        <pc:spChg chg="add mod">
          <ac:chgData name="Chavarria, Nicole" userId="59465f16-f52e-4fac-9696-8351220b84a8" providerId="ADAL" clId="{1DD2BE58-6394-446D-BC3B-31E195F5054C}" dt="2024-06-12T17:45:35.357" v="2075"/>
          <ac:spMkLst>
            <pc:docMk/>
            <pc:sldMk cId="2045849986" sldId="532"/>
            <ac:spMk id="16" creationId="{16F92257-980B-C9B4-48D3-CFA87D3DFB10}"/>
          </ac:spMkLst>
        </pc:spChg>
        <pc:grpChg chg="add mod">
          <ac:chgData name="Chavarria, Nicole" userId="59465f16-f52e-4fac-9696-8351220b84a8" providerId="ADAL" clId="{1DD2BE58-6394-446D-BC3B-31E195F5054C}" dt="2024-06-12T17:45:27.680" v="2074" actId="1076"/>
          <ac:grpSpMkLst>
            <pc:docMk/>
            <pc:sldMk cId="2045849986" sldId="532"/>
            <ac:grpSpMk id="11" creationId="{95FE05C6-B462-7581-1725-28BED8999966}"/>
          </ac:grpSpMkLst>
        </pc:grpChg>
        <pc:grpChg chg="add mod">
          <ac:chgData name="Chavarria, Nicole" userId="59465f16-f52e-4fac-9696-8351220b84a8" providerId="ADAL" clId="{1DD2BE58-6394-446D-BC3B-31E195F5054C}" dt="2024-06-12T17:54:20.632" v="2206" actId="1076"/>
          <ac:grpSpMkLst>
            <pc:docMk/>
            <pc:sldMk cId="2045849986" sldId="532"/>
            <ac:grpSpMk id="14" creationId="{6AD4E225-EA5C-99B1-3667-22DF207870AD}"/>
          </ac:grpSpMkLst>
        </pc:grpChg>
        <pc:graphicFrameChg chg="del mod">
          <ac:chgData name="Chavarria, Nicole" userId="59465f16-f52e-4fac-9696-8351220b84a8" providerId="ADAL" clId="{1DD2BE58-6394-446D-BC3B-31E195F5054C}" dt="2024-06-12T17:42:19.589" v="2046" actId="478"/>
          <ac:graphicFrameMkLst>
            <pc:docMk/>
            <pc:sldMk cId="2045849986" sldId="532"/>
            <ac:graphicFrameMk id="6" creationId="{D01765DE-86D8-67A6-912A-9F6C2296EA2A}"/>
          </ac:graphicFrameMkLst>
        </pc:graphicFrameChg>
      </pc:sldChg>
      <pc:sldChg chg="addSp delSp modSp add mod">
        <pc:chgData name="Chavarria, Nicole" userId="59465f16-f52e-4fac-9696-8351220b84a8" providerId="ADAL" clId="{1DD2BE58-6394-446D-BC3B-31E195F5054C}" dt="2024-06-12T17:53:50.251" v="2203" actId="14100"/>
        <pc:sldMkLst>
          <pc:docMk/>
          <pc:sldMk cId="2766026338" sldId="533"/>
        </pc:sldMkLst>
        <pc:spChg chg="mod">
          <ac:chgData name="Chavarria, Nicole" userId="59465f16-f52e-4fac-9696-8351220b84a8" providerId="ADAL" clId="{1DD2BE58-6394-446D-BC3B-31E195F5054C}" dt="2024-06-12T17:53:24.929" v="2199" actId="1076"/>
          <ac:spMkLst>
            <pc:docMk/>
            <pc:sldMk cId="2766026338" sldId="533"/>
            <ac:spMk id="4" creationId="{255E5197-91F6-466B-D2FC-E63E3DD68832}"/>
          </ac:spMkLst>
        </pc:spChg>
        <pc:spChg chg="mod">
          <ac:chgData name="Chavarria, Nicole" userId="59465f16-f52e-4fac-9696-8351220b84a8" providerId="ADAL" clId="{1DD2BE58-6394-446D-BC3B-31E195F5054C}" dt="2024-06-12T17:53:36.937" v="2200" actId="1076"/>
          <ac:spMkLst>
            <pc:docMk/>
            <pc:sldMk cId="2766026338" sldId="533"/>
            <ac:spMk id="5" creationId="{20677B0F-7F92-2617-3D8F-A21AE836FBDA}"/>
          </ac:spMkLst>
        </pc:spChg>
        <pc:spChg chg="mod">
          <ac:chgData name="Chavarria, Nicole" userId="59465f16-f52e-4fac-9696-8351220b84a8" providerId="ADAL" clId="{1DD2BE58-6394-446D-BC3B-31E195F5054C}" dt="2024-06-12T17:53:42.089" v="2201" actId="1076"/>
          <ac:spMkLst>
            <pc:docMk/>
            <pc:sldMk cId="2766026338" sldId="533"/>
            <ac:spMk id="7" creationId="{EDB0AAB5-5EF7-D41A-55A8-92556DB54CC6}"/>
          </ac:spMkLst>
        </pc:spChg>
        <pc:spChg chg="mod">
          <ac:chgData name="Chavarria, Nicole" userId="59465f16-f52e-4fac-9696-8351220b84a8" providerId="ADAL" clId="{1DD2BE58-6394-446D-BC3B-31E195F5054C}" dt="2024-06-12T17:53:50.251" v="2203" actId="14100"/>
          <ac:spMkLst>
            <pc:docMk/>
            <pc:sldMk cId="2766026338" sldId="533"/>
            <ac:spMk id="8" creationId="{80B79568-C0E4-30CA-C069-658E4D167AF7}"/>
          </ac:spMkLst>
        </pc:spChg>
        <pc:spChg chg="add del mod">
          <ac:chgData name="Chavarria, Nicole" userId="59465f16-f52e-4fac-9696-8351220b84a8" providerId="ADAL" clId="{1DD2BE58-6394-446D-BC3B-31E195F5054C}" dt="2024-06-12T17:48:13.719" v="2105" actId="478"/>
          <ac:spMkLst>
            <pc:docMk/>
            <pc:sldMk cId="2766026338" sldId="533"/>
            <ac:spMk id="10" creationId="{70E6930E-6FAA-30BA-BCB2-4A1A1677AA96}"/>
          </ac:spMkLst>
        </pc:spChg>
        <pc:spChg chg="add mod">
          <ac:chgData name="Chavarria, Nicole" userId="59465f16-f52e-4fac-9696-8351220b84a8" providerId="ADAL" clId="{1DD2BE58-6394-446D-BC3B-31E195F5054C}" dt="2024-06-12T17:49:41.987" v="2134" actId="14100"/>
          <ac:spMkLst>
            <pc:docMk/>
            <pc:sldMk cId="2766026338" sldId="533"/>
            <ac:spMk id="11" creationId="{E2E7DC1D-50B9-83E7-BC80-4CFB6C555A31}"/>
          </ac:spMkLst>
        </pc:spChg>
        <pc:spChg chg="add mod">
          <ac:chgData name="Chavarria, Nicole" userId="59465f16-f52e-4fac-9696-8351220b84a8" providerId="ADAL" clId="{1DD2BE58-6394-446D-BC3B-31E195F5054C}" dt="2024-06-12T17:49:50.894" v="2136" actId="14100"/>
          <ac:spMkLst>
            <pc:docMk/>
            <pc:sldMk cId="2766026338" sldId="533"/>
            <ac:spMk id="12" creationId="{75FDEFD4-E839-9B61-28DC-A6DEC006B885}"/>
          </ac:spMkLst>
        </pc:spChg>
        <pc:spChg chg="add mod">
          <ac:chgData name="Chavarria, Nicole" userId="59465f16-f52e-4fac-9696-8351220b84a8" providerId="ADAL" clId="{1DD2BE58-6394-446D-BC3B-31E195F5054C}" dt="2024-06-12T17:49:19.301" v="2124" actId="14100"/>
          <ac:spMkLst>
            <pc:docMk/>
            <pc:sldMk cId="2766026338" sldId="533"/>
            <ac:spMk id="13" creationId="{D8983328-3B57-E832-704B-1A7F93AC34D3}"/>
          </ac:spMkLst>
        </pc:spChg>
        <pc:spChg chg="add mod">
          <ac:chgData name="Chavarria, Nicole" userId="59465f16-f52e-4fac-9696-8351220b84a8" providerId="ADAL" clId="{1DD2BE58-6394-446D-BC3B-31E195F5054C}" dt="2024-06-12T17:49:10.714" v="2120" actId="1076"/>
          <ac:spMkLst>
            <pc:docMk/>
            <pc:sldMk cId="2766026338" sldId="533"/>
            <ac:spMk id="14" creationId="{569FD457-BA5E-84B1-E7D1-697C40630AAF}"/>
          </ac:spMkLst>
        </pc:spChg>
        <pc:spChg chg="add mod">
          <ac:chgData name="Chavarria, Nicole" userId="59465f16-f52e-4fac-9696-8351220b84a8" providerId="ADAL" clId="{1DD2BE58-6394-446D-BC3B-31E195F5054C}" dt="2024-06-12T17:50:19.972" v="2141"/>
          <ac:spMkLst>
            <pc:docMk/>
            <pc:sldMk cId="2766026338" sldId="533"/>
            <ac:spMk id="16" creationId="{6FA226ED-D0E3-756E-82BB-1A5C5D874E88}"/>
          </ac:spMkLst>
        </pc:spChg>
        <pc:spChg chg="add mod">
          <ac:chgData name="Chavarria, Nicole" userId="59465f16-f52e-4fac-9696-8351220b84a8" providerId="ADAL" clId="{1DD2BE58-6394-446D-BC3B-31E195F5054C}" dt="2024-06-12T17:50:25.693" v="2143" actId="113"/>
          <ac:spMkLst>
            <pc:docMk/>
            <pc:sldMk cId="2766026338" sldId="533"/>
            <ac:spMk id="17" creationId="{0A23338B-6B4F-76A5-4892-3EDB3DEADACC}"/>
          </ac:spMkLst>
        </pc:spChg>
        <pc:spChg chg="add mod">
          <ac:chgData name="Chavarria, Nicole" userId="59465f16-f52e-4fac-9696-8351220b84a8" providerId="ADAL" clId="{1DD2BE58-6394-446D-BC3B-31E195F5054C}" dt="2024-06-12T17:50:33.394" v="2144"/>
          <ac:spMkLst>
            <pc:docMk/>
            <pc:sldMk cId="2766026338" sldId="533"/>
            <ac:spMk id="19" creationId="{902231D2-56DD-4630-DE20-DB554FFF9A18}"/>
          </ac:spMkLst>
        </pc:spChg>
        <pc:spChg chg="add mod">
          <ac:chgData name="Chavarria, Nicole" userId="59465f16-f52e-4fac-9696-8351220b84a8" providerId="ADAL" clId="{1DD2BE58-6394-446D-BC3B-31E195F5054C}" dt="2024-06-12T17:50:38.520" v="2146" actId="113"/>
          <ac:spMkLst>
            <pc:docMk/>
            <pc:sldMk cId="2766026338" sldId="533"/>
            <ac:spMk id="20" creationId="{433F869A-1310-6A14-C2D5-CFBF22BF645D}"/>
          </ac:spMkLst>
        </pc:spChg>
        <pc:spChg chg="add mod">
          <ac:chgData name="Chavarria, Nicole" userId="59465f16-f52e-4fac-9696-8351220b84a8" providerId="ADAL" clId="{1DD2BE58-6394-446D-BC3B-31E195F5054C}" dt="2024-06-12T17:50:46.576" v="2147"/>
          <ac:spMkLst>
            <pc:docMk/>
            <pc:sldMk cId="2766026338" sldId="533"/>
            <ac:spMk id="22" creationId="{AFA458ED-DA82-17DB-9FF2-194135C25D50}"/>
          </ac:spMkLst>
        </pc:spChg>
        <pc:spChg chg="add mod">
          <ac:chgData name="Chavarria, Nicole" userId="59465f16-f52e-4fac-9696-8351220b84a8" providerId="ADAL" clId="{1DD2BE58-6394-446D-BC3B-31E195F5054C}" dt="2024-06-12T17:50:56.920" v="2149" actId="113"/>
          <ac:spMkLst>
            <pc:docMk/>
            <pc:sldMk cId="2766026338" sldId="533"/>
            <ac:spMk id="23" creationId="{81825219-F8C4-C466-A88C-DD018D8CF73D}"/>
          </ac:spMkLst>
        </pc:spChg>
        <pc:spChg chg="add mod">
          <ac:chgData name="Chavarria, Nicole" userId="59465f16-f52e-4fac-9696-8351220b84a8" providerId="ADAL" clId="{1DD2BE58-6394-446D-BC3B-31E195F5054C}" dt="2024-06-12T17:51:05.348" v="2150"/>
          <ac:spMkLst>
            <pc:docMk/>
            <pc:sldMk cId="2766026338" sldId="533"/>
            <ac:spMk id="25" creationId="{05682DF8-03E9-9512-81FC-7D9710C59982}"/>
          </ac:spMkLst>
        </pc:spChg>
        <pc:spChg chg="add mod">
          <ac:chgData name="Chavarria, Nicole" userId="59465f16-f52e-4fac-9696-8351220b84a8" providerId="ADAL" clId="{1DD2BE58-6394-446D-BC3B-31E195F5054C}" dt="2024-06-12T17:51:21.338" v="2153" actId="113"/>
          <ac:spMkLst>
            <pc:docMk/>
            <pc:sldMk cId="2766026338" sldId="533"/>
            <ac:spMk id="26" creationId="{E2C2E655-2524-0F35-61B9-6C7A2AB4F372}"/>
          </ac:spMkLst>
        </pc:spChg>
        <pc:grpChg chg="add mod">
          <ac:chgData name="Chavarria, Nicole" userId="59465f16-f52e-4fac-9696-8351220b84a8" providerId="ADAL" clId="{1DD2BE58-6394-446D-BC3B-31E195F5054C}" dt="2024-06-12T17:50:24.133" v="2142" actId="1076"/>
          <ac:grpSpMkLst>
            <pc:docMk/>
            <pc:sldMk cId="2766026338" sldId="533"/>
            <ac:grpSpMk id="15" creationId="{46A0403A-B17C-EFE4-826E-8F1615CC716F}"/>
          </ac:grpSpMkLst>
        </pc:grpChg>
        <pc:grpChg chg="add mod">
          <ac:chgData name="Chavarria, Nicole" userId="59465f16-f52e-4fac-9696-8351220b84a8" providerId="ADAL" clId="{1DD2BE58-6394-446D-BC3B-31E195F5054C}" dt="2024-06-12T17:50:37.557" v="2145" actId="1076"/>
          <ac:grpSpMkLst>
            <pc:docMk/>
            <pc:sldMk cId="2766026338" sldId="533"/>
            <ac:grpSpMk id="18" creationId="{32C6482C-7454-EC7B-A9F1-782D311285F1}"/>
          </ac:grpSpMkLst>
        </pc:grpChg>
        <pc:grpChg chg="add mod">
          <ac:chgData name="Chavarria, Nicole" userId="59465f16-f52e-4fac-9696-8351220b84a8" providerId="ADAL" clId="{1DD2BE58-6394-446D-BC3B-31E195F5054C}" dt="2024-06-12T17:50:54.966" v="2148" actId="1076"/>
          <ac:grpSpMkLst>
            <pc:docMk/>
            <pc:sldMk cId="2766026338" sldId="533"/>
            <ac:grpSpMk id="21" creationId="{20247EF7-D95D-57A5-B6E3-A8A675B7CCC0}"/>
          </ac:grpSpMkLst>
        </pc:grpChg>
        <pc:grpChg chg="add mod">
          <ac:chgData name="Chavarria, Nicole" userId="59465f16-f52e-4fac-9696-8351220b84a8" providerId="ADAL" clId="{1DD2BE58-6394-446D-BC3B-31E195F5054C}" dt="2024-06-12T17:51:19.686" v="2152" actId="1076"/>
          <ac:grpSpMkLst>
            <pc:docMk/>
            <pc:sldMk cId="2766026338" sldId="533"/>
            <ac:grpSpMk id="24" creationId="{C6ACFF3A-7DCF-B56B-EE47-EF8D423DF262}"/>
          </ac:grpSpMkLst>
        </pc:grpChg>
        <pc:graphicFrameChg chg="del">
          <ac:chgData name="Chavarria, Nicole" userId="59465f16-f52e-4fac-9696-8351220b84a8" providerId="ADAL" clId="{1DD2BE58-6394-446D-BC3B-31E195F5054C}" dt="2024-06-12T17:48:05.675" v="2104" actId="478"/>
          <ac:graphicFrameMkLst>
            <pc:docMk/>
            <pc:sldMk cId="2766026338" sldId="533"/>
            <ac:graphicFrameMk id="6" creationId="{DF88A53D-2A72-4ABC-E281-9AB22199576F}"/>
          </ac:graphicFrameMkLst>
        </pc:graphicFrameChg>
      </pc:sldChg>
    </pc:docChg>
  </pc:docChgLst>
  <pc:docChgLst>
    <pc:chgData name="Jarcik, Andrew" userId="721e7551-2db4-4102-b3c1-66f8e1f48f72" providerId="ADAL" clId="{7A97E953-82AF-4C45-A4AD-ED4CD843733C}"/>
    <pc:docChg chg="custSel modSld addMainMaster modMainMaster">
      <pc:chgData name="Jarcik, Andrew" userId="721e7551-2db4-4102-b3c1-66f8e1f48f72" providerId="ADAL" clId="{7A97E953-82AF-4C45-A4AD-ED4CD843733C}" dt="2024-05-07T20:59:38.747" v="1003" actId="20577"/>
      <pc:docMkLst>
        <pc:docMk/>
      </pc:docMkLst>
      <pc:sldChg chg="modNotesTx">
        <pc:chgData name="Jarcik, Andrew" userId="721e7551-2db4-4102-b3c1-66f8e1f48f72" providerId="ADAL" clId="{7A97E953-82AF-4C45-A4AD-ED4CD843733C}" dt="2024-05-07T20:52:37.445" v="730" actId="20577"/>
        <pc:sldMkLst>
          <pc:docMk/>
          <pc:sldMk cId="2195862732" sldId="501"/>
        </pc:sldMkLst>
      </pc:sldChg>
      <pc:sldChg chg="modNotesTx">
        <pc:chgData name="Jarcik, Andrew" userId="721e7551-2db4-4102-b3c1-66f8e1f48f72" providerId="ADAL" clId="{7A97E953-82AF-4C45-A4AD-ED4CD843733C}" dt="2024-05-07T20:51:41.886" v="562" actId="313"/>
        <pc:sldMkLst>
          <pc:docMk/>
          <pc:sldMk cId="377716646" sldId="502"/>
        </pc:sldMkLst>
      </pc:sldChg>
      <pc:sldChg chg="modNotesTx">
        <pc:chgData name="Jarcik, Andrew" userId="721e7551-2db4-4102-b3c1-66f8e1f48f72" providerId="ADAL" clId="{7A97E953-82AF-4C45-A4AD-ED4CD843733C}" dt="2024-05-07T20:49:08.149" v="305" actId="313"/>
        <pc:sldMkLst>
          <pc:docMk/>
          <pc:sldMk cId="982031792" sldId="503"/>
        </pc:sldMkLst>
      </pc:sldChg>
      <pc:sldChg chg="modNotesTx">
        <pc:chgData name="Jarcik, Andrew" userId="721e7551-2db4-4102-b3c1-66f8e1f48f72" providerId="ADAL" clId="{7A97E953-82AF-4C45-A4AD-ED4CD843733C}" dt="2024-05-07T20:55:30.660" v="891" actId="20577"/>
        <pc:sldMkLst>
          <pc:docMk/>
          <pc:sldMk cId="4121523291" sldId="504"/>
        </pc:sldMkLst>
      </pc:sldChg>
      <pc:sldChg chg="modNotesTx">
        <pc:chgData name="Jarcik, Andrew" userId="721e7551-2db4-4102-b3c1-66f8e1f48f72" providerId="ADAL" clId="{7A97E953-82AF-4C45-A4AD-ED4CD843733C}" dt="2024-05-07T20:59:38.747" v="1003" actId="20577"/>
        <pc:sldMkLst>
          <pc:docMk/>
          <pc:sldMk cId="3066985548" sldId="505"/>
        </pc:sldMkLst>
      </pc:sldChg>
      <pc:sldMasterChg chg="new mod addSldLayout">
        <pc:chgData name="Jarcik, Andrew" userId="721e7551-2db4-4102-b3c1-66f8e1f48f72" providerId="ADAL" clId="{7A97E953-82AF-4C45-A4AD-ED4CD843733C}" dt="2024-05-07T20:56:18.964" v="892" actId="6938"/>
        <pc:sldMasterMkLst>
          <pc:docMk/>
          <pc:sldMasterMk cId="706252373" sldId="2147484020"/>
        </pc:sldMasterMkLst>
        <pc:sldLayoutChg chg="new replId">
          <pc:chgData name="Jarcik, Andrew" userId="721e7551-2db4-4102-b3c1-66f8e1f48f72" providerId="ADAL" clId="{7A97E953-82AF-4C45-A4AD-ED4CD843733C}" dt="2024-05-07T20:56:18.964" v="892" actId="6938"/>
          <pc:sldLayoutMkLst>
            <pc:docMk/>
            <pc:sldMasterMk cId="706252373" sldId="2147484020"/>
            <pc:sldLayoutMk cId="530382155" sldId="2147484021"/>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531738920" sldId="2147484022"/>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701569943" sldId="2147484023"/>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248782665" sldId="2147484024"/>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342148079" sldId="2147484025"/>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779090103" sldId="2147484026"/>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914922080" sldId="2147484027"/>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640623506" sldId="2147484028"/>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4272761251" sldId="2147484029"/>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268121748" sldId="2147484030"/>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696885652" sldId="2147484031"/>
          </pc:sldLayoutMkLst>
        </pc:sldLayoutChg>
      </pc:sldMasterChg>
    </pc:docChg>
  </pc:docChgLst>
  <pc:docChgLst>
    <pc:chgData name="Jarcik, Andrew" userId="721e7551-2db4-4102-b3c1-66f8e1f48f72" providerId="ADAL" clId="{703D6E77-53F4-410F-9736-005D7D0CDE76}"/>
    <pc:docChg chg="undo custSel addSld delSld modSld sldOrd addMainMaster delMainMaster modMainMaster">
      <pc:chgData name="Jarcik, Andrew" userId="721e7551-2db4-4102-b3c1-66f8e1f48f72" providerId="ADAL" clId="{703D6E77-53F4-410F-9736-005D7D0CDE76}" dt="2024-06-06T19:18:21.937" v="3056" actId="1076"/>
      <pc:docMkLst>
        <pc:docMk/>
      </pc:docMkLst>
      <pc:sldChg chg="modSp">
        <pc:chgData name="Jarcik, Andrew" userId="721e7551-2db4-4102-b3c1-66f8e1f48f72" providerId="ADAL" clId="{703D6E77-53F4-410F-9736-005D7D0CDE76}" dt="2024-05-28T19:07:59.309" v="0" actId="14826"/>
        <pc:sldMkLst>
          <pc:docMk/>
          <pc:sldMk cId="153350407" sldId="377"/>
        </pc:sldMkLst>
        <pc:picChg chg="mod">
          <ac:chgData name="Jarcik, Andrew" userId="721e7551-2db4-4102-b3c1-66f8e1f48f72" providerId="ADAL" clId="{703D6E77-53F4-410F-9736-005D7D0CDE76}" dt="2024-05-28T19:07:59.309" v="0" actId="14826"/>
          <ac:picMkLst>
            <pc:docMk/>
            <pc:sldMk cId="153350407" sldId="377"/>
            <ac:picMk id="25" creationId="{59393852-9338-1D56-7AC8-B70E16D8B6E2}"/>
          </ac:picMkLst>
        </pc:picChg>
      </pc:sldChg>
      <pc:sldChg chg="modSp mod">
        <pc:chgData name="Jarcik, Andrew" userId="721e7551-2db4-4102-b3c1-66f8e1f48f72" providerId="ADAL" clId="{703D6E77-53F4-410F-9736-005D7D0CDE76}" dt="2024-05-31T14:56:35.656" v="736" actId="20577"/>
        <pc:sldMkLst>
          <pc:docMk/>
          <pc:sldMk cId="2966844647" sldId="493"/>
        </pc:sldMkLst>
        <pc:graphicFrameChg chg="modGraphic">
          <ac:chgData name="Jarcik, Andrew" userId="721e7551-2db4-4102-b3c1-66f8e1f48f72" providerId="ADAL" clId="{703D6E77-53F4-410F-9736-005D7D0CDE76}" dt="2024-05-31T14:56:35.656" v="736" actId="20577"/>
          <ac:graphicFrameMkLst>
            <pc:docMk/>
            <pc:sldMk cId="2966844647" sldId="493"/>
            <ac:graphicFrameMk id="7" creationId="{3B0C6FD2-6FE9-6B07-5F93-0F7B3FD967ED}"/>
          </ac:graphicFrameMkLst>
        </pc:graphicFrameChg>
      </pc:sldChg>
      <pc:sldChg chg="addSp modSp del mod ord modShow">
        <pc:chgData name="Jarcik, Andrew" userId="721e7551-2db4-4102-b3c1-66f8e1f48f72" providerId="ADAL" clId="{703D6E77-53F4-410F-9736-005D7D0CDE76}" dt="2024-06-06T18:15:59.551" v="2299" actId="2696"/>
        <pc:sldMkLst>
          <pc:docMk/>
          <pc:sldMk cId="966376479" sldId="507"/>
        </pc:sldMkLst>
        <pc:graphicFrameChg chg="mod">
          <ac:chgData name="Jarcik, Andrew" userId="721e7551-2db4-4102-b3c1-66f8e1f48f72" providerId="ADAL" clId="{703D6E77-53F4-410F-9736-005D7D0CDE76}" dt="2024-05-28T19:21:20.519" v="152" actId="20577"/>
          <ac:graphicFrameMkLst>
            <pc:docMk/>
            <pc:sldMk cId="966376479" sldId="507"/>
            <ac:graphicFrameMk id="17" creationId="{39229BC4-48E9-AF5A-9505-FF47FB3CDF08}"/>
          </ac:graphicFrameMkLst>
        </pc:graphicFrameChg>
        <pc:cxnChg chg="add mod">
          <ac:chgData name="Jarcik, Andrew" userId="721e7551-2db4-4102-b3c1-66f8e1f48f72" providerId="ADAL" clId="{703D6E77-53F4-410F-9736-005D7D0CDE76}" dt="2024-05-28T19:40:59.853" v="399" actId="1076"/>
          <ac:cxnSpMkLst>
            <pc:docMk/>
            <pc:sldMk cId="966376479" sldId="507"/>
            <ac:cxnSpMk id="5" creationId="{30E565FA-29DA-20AB-527F-737891FA6783}"/>
          </ac:cxnSpMkLst>
        </pc:cxnChg>
      </pc:sldChg>
      <pc:sldChg chg="addSp modSp mod">
        <pc:chgData name="Jarcik, Andrew" userId="721e7551-2db4-4102-b3c1-66f8e1f48f72" providerId="ADAL" clId="{703D6E77-53F4-410F-9736-005D7D0CDE76}" dt="2024-05-31T14:54:41.289" v="727" actId="207"/>
        <pc:sldMkLst>
          <pc:docMk/>
          <pc:sldMk cId="3542634899" sldId="508"/>
        </pc:sldMkLst>
        <pc:spChg chg="mod">
          <ac:chgData name="Jarcik, Andrew" userId="721e7551-2db4-4102-b3c1-66f8e1f48f72" providerId="ADAL" clId="{703D6E77-53F4-410F-9736-005D7D0CDE76}" dt="2024-05-31T14:54:41.289" v="727" actId="207"/>
          <ac:spMkLst>
            <pc:docMk/>
            <pc:sldMk cId="3542634899" sldId="508"/>
            <ac:spMk id="12" creationId="{84008B66-D16B-3AF5-E7C6-40A8943B854C}"/>
          </ac:spMkLst>
        </pc:spChg>
        <pc:cxnChg chg="add mod">
          <ac:chgData name="Jarcik, Andrew" userId="721e7551-2db4-4102-b3c1-66f8e1f48f72" providerId="ADAL" clId="{703D6E77-53F4-410F-9736-005D7D0CDE76}" dt="2024-05-28T19:41:21.338" v="403"/>
          <ac:cxnSpMkLst>
            <pc:docMk/>
            <pc:sldMk cId="3542634899" sldId="508"/>
            <ac:cxnSpMk id="7" creationId="{45C7B3A5-3B7B-BFC2-9337-74087C84F3F4}"/>
          </ac:cxnSpMkLst>
        </pc:cxnChg>
      </pc:sldChg>
      <pc:sldChg chg="addSp modSp">
        <pc:chgData name="Jarcik, Andrew" userId="721e7551-2db4-4102-b3c1-66f8e1f48f72" providerId="ADAL" clId="{703D6E77-53F4-410F-9736-005D7D0CDE76}" dt="2024-05-28T19:41:24.071" v="404"/>
        <pc:sldMkLst>
          <pc:docMk/>
          <pc:sldMk cId="3929932632" sldId="509"/>
        </pc:sldMkLst>
        <pc:cxnChg chg="add mod">
          <ac:chgData name="Jarcik, Andrew" userId="721e7551-2db4-4102-b3c1-66f8e1f48f72" providerId="ADAL" clId="{703D6E77-53F4-410F-9736-005D7D0CDE76}" dt="2024-05-28T19:41:24.071" v="404"/>
          <ac:cxnSpMkLst>
            <pc:docMk/>
            <pc:sldMk cId="3929932632" sldId="509"/>
            <ac:cxnSpMk id="4" creationId="{FD4A883B-C7F6-B052-A48A-763E8C0CA99E}"/>
          </ac:cxnSpMkLst>
        </pc:cxnChg>
      </pc:sldChg>
      <pc:sldChg chg="addSp delSp modSp mod">
        <pc:chgData name="Jarcik, Andrew" userId="721e7551-2db4-4102-b3c1-66f8e1f48f72" providerId="ADAL" clId="{703D6E77-53F4-410F-9736-005D7D0CDE76}" dt="2024-06-06T19:18:21.937" v="3056" actId="1076"/>
        <pc:sldMkLst>
          <pc:docMk/>
          <pc:sldMk cId="223492080" sldId="510"/>
        </pc:sldMkLst>
        <pc:spChg chg="add mod">
          <ac:chgData name="Jarcik, Andrew" userId="721e7551-2db4-4102-b3c1-66f8e1f48f72" providerId="ADAL" clId="{703D6E77-53F4-410F-9736-005D7D0CDE76}" dt="2024-06-06T19:18:21.937" v="3056" actId="1076"/>
          <ac:spMkLst>
            <pc:docMk/>
            <pc:sldMk cId="223492080" sldId="510"/>
            <ac:spMk id="4" creationId="{98004E8D-E78D-E040-B150-4C6C2489378F}"/>
          </ac:spMkLst>
        </pc:spChg>
        <pc:spChg chg="add del mod">
          <ac:chgData name="Jarcik, Andrew" userId="721e7551-2db4-4102-b3c1-66f8e1f48f72" providerId="ADAL" clId="{703D6E77-53F4-410F-9736-005D7D0CDE76}" dt="2024-06-06T19:18:12.844" v="3055" actId="478"/>
          <ac:spMkLst>
            <pc:docMk/>
            <pc:sldMk cId="223492080" sldId="510"/>
            <ac:spMk id="5" creationId="{89BCC567-F354-4D18-F824-6A296273B67E}"/>
          </ac:spMkLst>
        </pc:spChg>
        <pc:spChg chg="add mod">
          <ac:chgData name="Jarcik, Andrew" userId="721e7551-2db4-4102-b3c1-66f8e1f48f72" providerId="ADAL" clId="{703D6E77-53F4-410F-9736-005D7D0CDE76}" dt="2024-06-06T19:18:21.937" v="3056" actId="1076"/>
          <ac:spMkLst>
            <pc:docMk/>
            <pc:sldMk cId="223492080" sldId="510"/>
            <ac:spMk id="6" creationId="{C5F23693-0F9D-B6BA-96C5-B20A5D9FB3F6}"/>
          </ac:spMkLst>
        </pc:spChg>
        <pc:graphicFrameChg chg="mod">
          <ac:chgData name="Jarcik, Andrew" userId="721e7551-2db4-4102-b3c1-66f8e1f48f72" providerId="ADAL" clId="{703D6E77-53F4-410F-9736-005D7D0CDE76}" dt="2024-06-06T19:18:21.937" v="3056" actId="1076"/>
          <ac:graphicFrameMkLst>
            <pc:docMk/>
            <pc:sldMk cId="223492080" sldId="510"/>
            <ac:graphicFrameMk id="16" creationId="{196D1D32-332F-953B-6A67-9C1A24F44C00}"/>
          </ac:graphicFrameMkLst>
        </pc:graphicFrameChg>
        <pc:cxnChg chg="add mod">
          <ac:chgData name="Jarcik, Andrew" userId="721e7551-2db4-4102-b3c1-66f8e1f48f72" providerId="ADAL" clId="{703D6E77-53F4-410F-9736-005D7D0CDE76}" dt="2024-05-28T19:41:34.189" v="408"/>
          <ac:cxnSpMkLst>
            <pc:docMk/>
            <pc:sldMk cId="223492080" sldId="510"/>
            <ac:cxnSpMk id="2" creationId="{3C3BA6AC-3738-2821-8C75-78D953AE2AB1}"/>
          </ac:cxnSpMkLst>
        </pc:cxnChg>
      </pc:sldChg>
      <pc:sldChg chg="addSp delSp modSp mod modNotes">
        <pc:chgData name="Jarcik, Andrew" userId="721e7551-2db4-4102-b3c1-66f8e1f48f72" providerId="ADAL" clId="{703D6E77-53F4-410F-9736-005D7D0CDE76}" dt="2024-05-31T14:50:06.151" v="725" actId="27636"/>
        <pc:sldMkLst>
          <pc:docMk/>
          <pc:sldMk cId="3247095912" sldId="511"/>
        </pc:sldMkLst>
        <pc:spChg chg="add del mod ord">
          <ac:chgData name="Jarcik, Andrew" userId="721e7551-2db4-4102-b3c1-66f8e1f48f72" providerId="ADAL" clId="{703D6E77-53F4-410F-9736-005D7D0CDE76}" dt="2024-05-28T19:52:36.326" v="449" actId="11529"/>
          <ac:spMkLst>
            <pc:docMk/>
            <pc:sldMk cId="3247095912" sldId="511"/>
            <ac:spMk id="4" creationId="{1AB7FBFB-DC03-59C6-333C-6F6FA02E4420}"/>
          </ac:spMkLst>
        </pc:spChg>
        <pc:graphicFrameChg chg="mod">
          <ac:chgData name="Jarcik, Andrew" userId="721e7551-2db4-4102-b3c1-66f8e1f48f72" providerId="ADAL" clId="{703D6E77-53F4-410F-9736-005D7D0CDE76}" dt="2024-05-28T19:51:45.913" v="439" actId="1076"/>
          <ac:graphicFrameMkLst>
            <pc:docMk/>
            <pc:sldMk cId="3247095912" sldId="511"/>
            <ac:graphicFrameMk id="6" creationId="{DF88A53D-2A72-4ABC-E281-9AB22199576F}"/>
          </ac:graphicFrameMkLst>
        </pc:graphicFrameChg>
        <pc:cxnChg chg="add mod">
          <ac:chgData name="Jarcik, Andrew" userId="721e7551-2db4-4102-b3c1-66f8e1f48f72" providerId="ADAL" clId="{703D6E77-53F4-410F-9736-005D7D0CDE76}" dt="2024-05-28T19:41:26.382" v="406"/>
          <ac:cxnSpMkLst>
            <pc:docMk/>
            <pc:sldMk cId="3247095912" sldId="511"/>
            <ac:cxnSpMk id="2" creationId="{0FB32C1D-1953-9C03-AD03-37FFCF09A31E}"/>
          </ac:cxnSpMkLst>
        </pc:cxnChg>
      </pc:sldChg>
      <pc:sldChg chg="addSp modSp mod">
        <pc:chgData name="Jarcik, Andrew" userId="721e7551-2db4-4102-b3c1-66f8e1f48f72" providerId="ADAL" clId="{703D6E77-53F4-410F-9736-005D7D0CDE76}" dt="2024-05-31T14:58:51.211" v="740" actId="1076"/>
        <pc:sldMkLst>
          <pc:docMk/>
          <pc:sldMk cId="1084607133" sldId="512"/>
        </pc:sldMkLst>
        <pc:graphicFrameChg chg="mod">
          <ac:chgData name="Jarcik, Andrew" userId="721e7551-2db4-4102-b3c1-66f8e1f48f72" providerId="ADAL" clId="{703D6E77-53F4-410F-9736-005D7D0CDE76}" dt="2024-05-31T14:58:51.211" v="740" actId="1076"/>
          <ac:graphicFrameMkLst>
            <pc:docMk/>
            <pc:sldMk cId="1084607133" sldId="512"/>
            <ac:graphicFrameMk id="6" creationId="{338CEEAB-B2A1-E2C2-535A-E021EB178F25}"/>
          </ac:graphicFrameMkLst>
        </pc:graphicFrameChg>
        <pc:cxnChg chg="add mod">
          <ac:chgData name="Jarcik, Andrew" userId="721e7551-2db4-4102-b3c1-66f8e1f48f72" providerId="ADAL" clId="{703D6E77-53F4-410F-9736-005D7D0CDE76}" dt="2024-05-31T14:58:36.620" v="738" actId="1076"/>
          <ac:cxnSpMkLst>
            <pc:docMk/>
            <pc:sldMk cId="1084607133" sldId="512"/>
            <ac:cxnSpMk id="2" creationId="{B5A87698-B6D7-D716-DD09-C8E4B2FD9BA5}"/>
          </ac:cxnSpMkLst>
        </pc:cxnChg>
      </pc:sldChg>
      <pc:sldChg chg="addSp modSp mod">
        <pc:chgData name="Jarcik, Andrew" userId="721e7551-2db4-4102-b3c1-66f8e1f48f72" providerId="ADAL" clId="{703D6E77-53F4-410F-9736-005D7D0CDE76}" dt="2024-05-28T19:41:04.150" v="400" actId="1076"/>
        <pc:sldMkLst>
          <pc:docMk/>
          <pc:sldMk cId="2570224678" sldId="513"/>
        </pc:sldMkLst>
        <pc:cxnChg chg="add mod">
          <ac:chgData name="Jarcik, Andrew" userId="721e7551-2db4-4102-b3c1-66f8e1f48f72" providerId="ADAL" clId="{703D6E77-53F4-410F-9736-005D7D0CDE76}" dt="2024-05-28T19:41:04.150" v="400" actId="1076"/>
          <ac:cxnSpMkLst>
            <pc:docMk/>
            <pc:sldMk cId="2570224678" sldId="513"/>
            <ac:cxnSpMk id="2" creationId="{321AA7D4-2EC4-B16F-F915-7BC8E9EF29E1}"/>
          </ac:cxnSpMkLst>
        </pc:cxnChg>
      </pc:sldChg>
      <pc:sldChg chg="addSp modSp del mod modShow">
        <pc:chgData name="Jarcik, Andrew" userId="721e7551-2db4-4102-b3c1-66f8e1f48f72" providerId="ADAL" clId="{703D6E77-53F4-410F-9736-005D7D0CDE76}" dt="2024-06-06T18:14:30.938" v="2254" actId="2696"/>
        <pc:sldMkLst>
          <pc:docMk/>
          <pc:sldMk cId="1812200624" sldId="514"/>
        </pc:sldMkLst>
        <pc:cxnChg chg="add mod">
          <ac:chgData name="Jarcik, Andrew" userId="721e7551-2db4-4102-b3c1-66f8e1f48f72" providerId="ADAL" clId="{703D6E77-53F4-410F-9736-005D7D0CDE76}" dt="2024-05-28T19:41:31.735" v="407"/>
          <ac:cxnSpMkLst>
            <pc:docMk/>
            <pc:sldMk cId="1812200624" sldId="514"/>
            <ac:cxnSpMk id="5" creationId="{284341A3-E1D6-41CF-08E1-054581A65D8F}"/>
          </ac:cxnSpMkLst>
        </pc:cxnChg>
      </pc:sldChg>
      <pc:sldChg chg="addSp delSp modSp mod modClrScheme chgLayout">
        <pc:chgData name="Jarcik, Andrew" userId="721e7551-2db4-4102-b3c1-66f8e1f48f72" providerId="ADAL" clId="{703D6E77-53F4-410F-9736-005D7D0CDE76}" dt="2024-06-06T18:46:49.137" v="2541" actId="20577"/>
        <pc:sldMkLst>
          <pc:docMk/>
          <pc:sldMk cId="3042953501" sldId="516"/>
        </pc:sldMkLst>
        <pc:spChg chg="mod">
          <ac:chgData name="Jarcik, Andrew" userId="721e7551-2db4-4102-b3c1-66f8e1f48f72" providerId="ADAL" clId="{703D6E77-53F4-410F-9736-005D7D0CDE76}" dt="2024-05-28T19:17:06.052" v="37" actId="14100"/>
          <ac:spMkLst>
            <pc:docMk/>
            <pc:sldMk cId="3042953501" sldId="516"/>
            <ac:spMk id="2" creationId="{8941BB55-9918-2D12-0D56-CD70A0304529}"/>
          </ac:spMkLst>
        </pc:spChg>
        <pc:spChg chg="mod ord">
          <ac:chgData name="Jarcik, Andrew" userId="721e7551-2db4-4102-b3c1-66f8e1f48f72" providerId="ADAL" clId="{703D6E77-53F4-410F-9736-005D7D0CDE76}" dt="2024-05-28T19:22:46.911" v="158" actId="26606"/>
          <ac:spMkLst>
            <pc:docMk/>
            <pc:sldMk cId="3042953501" sldId="516"/>
            <ac:spMk id="3" creationId="{7DCBD7A3-7F44-B43C-9DF2-C2E8770D7406}"/>
          </ac:spMkLst>
        </pc:spChg>
        <pc:spChg chg="del">
          <ac:chgData name="Jarcik, Andrew" userId="721e7551-2db4-4102-b3c1-66f8e1f48f72" providerId="ADAL" clId="{703D6E77-53F4-410F-9736-005D7D0CDE76}" dt="2024-05-28T19:11:06.892" v="1" actId="22"/>
          <ac:spMkLst>
            <pc:docMk/>
            <pc:sldMk cId="3042953501" sldId="516"/>
            <ac:spMk id="4" creationId="{26CAC8DB-2706-CA8B-7489-874861B73AAE}"/>
          </ac:spMkLst>
        </pc:spChg>
        <pc:spChg chg="mod ord">
          <ac:chgData name="Jarcik, Andrew" userId="721e7551-2db4-4102-b3c1-66f8e1f48f72" providerId="ADAL" clId="{703D6E77-53F4-410F-9736-005D7D0CDE76}" dt="2024-05-28T19:23:02.324" v="162" actId="20577"/>
          <ac:spMkLst>
            <pc:docMk/>
            <pc:sldMk cId="3042953501" sldId="516"/>
            <ac:spMk id="7" creationId="{ED00FDC9-9CFC-6709-6C22-2017CD2DC501}"/>
          </ac:spMkLst>
        </pc:spChg>
        <pc:spChg chg="add del mod">
          <ac:chgData name="Jarcik, Andrew" userId="721e7551-2db4-4102-b3c1-66f8e1f48f72" providerId="ADAL" clId="{703D6E77-53F4-410F-9736-005D7D0CDE76}" dt="2024-05-28T19:14:19.119" v="3" actId="22"/>
          <ac:spMkLst>
            <pc:docMk/>
            <pc:sldMk cId="3042953501" sldId="516"/>
            <ac:spMk id="8" creationId="{8DBA7771-F4DC-645B-FCC1-B9516186558A}"/>
          </ac:spMkLst>
        </pc:spChg>
        <pc:spChg chg="add del mod">
          <ac:chgData name="Jarcik, Andrew" userId="721e7551-2db4-4102-b3c1-66f8e1f48f72" providerId="ADAL" clId="{703D6E77-53F4-410F-9736-005D7D0CDE76}" dt="2024-05-28T19:23:20.918" v="167" actId="478"/>
          <ac:spMkLst>
            <pc:docMk/>
            <pc:sldMk cId="3042953501" sldId="516"/>
            <ac:spMk id="16" creationId="{7043F172-3B53-F4AE-7233-7EF4C979065B}"/>
          </ac:spMkLst>
        </pc:spChg>
        <pc:spChg chg="add mod ord">
          <ac:chgData name="Jarcik, Andrew" userId="721e7551-2db4-4102-b3c1-66f8e1f48f72" providerId="ADAL" clId="{703D6E77-53F4-410F-9736-005D7D0CDE76}" dt="2024-05-28T19:58:26.310" v="720" actId="339"/>
          <ac:spMkLst>
            <pc:docMk/>
            <pc:sldMk cId="3042953501" sldId="516"/>
            <ac:spMk id="20" creationId="{6B210DEA-413D-1942-504B-D3C27A3F1EEF}"/>
          </ac:spMkLst>
        </pc:spChg>
        <pc:spChg chg="add mod">
          <ac:chgData name="Jarcik, Andrew" userId="721e7551-2db4-4102-b3c1-66f8e1f48f72" providerId="ADAL" clId="{703D6E77-53F4-410F-9736-005D7D0CDE76}" dt="2024-06-06T18:46:49.137" v="2541" actId="20577"/>
          <ac:spMkLst>
            <pc:docMk/>
            <pc:sldMk cId="3042953501" sldId="516"/>
            <ac:spMk id="22" creationId="{5E26C8B6-114D-9073-707F-5010A4B0F566}"/>
          </ac:spMkLst>
        </pc:spChg>
        <pc:picChg chg="add del mod ord">
          <ac:chgData name="Jarcik, Andrew" userId="721e7551-2db4-4102-b3c1-66f8e1f48f72" providerId="ADAL" clId="{703D6E77-53F4-410F-9736-005D7D0CDE76}" dt="2024-05-28T19:14:17.316" v="2" actId="478"/>
          <ac:picMkLst>
            <pc:docMk/>
            <pc:sldMk cId="3042953501" sldId="516"/>
            <ac:picMk id="6" creationId="{BEBC73C6-C695-86E6-62D6-A4B796C4B4ED}"/>
          </ac:picMkLst>
        </pc:picChg>
        <pc:picChg chg="add del mod ord">
          <ac:chgData name="Jarcik, Andrew" userId="721e7551-2db4-4102-b3c1-66f8e1f48f72" providerId="ADAL" clId="{703D6E77-53F4-410F-9736-005D7D0CDE76}" dt="2024-05-28T19:23:04.959" v="163" actId="478"/>
          <ac:picMkLst>
            <pc:docMk/>
            <pc:sldMk cId="3042953501" sldId="516"/>
            <ac:picMk id="10" creationId="{D3BAEB48-1005-E2F5-21A8-F4E2C8B2867A}"/>
          </ac:picMkLst>
        </pc:picChg>
        <pc:picChg chg="add del mod">
          <ac:chgData name="Jarcik, Andrew" userId="721e7551-2db4-4102-b3c1-66f8e1f48f72" providerId="ADAL" clId="{703D6E77-53F4-410F-9736-005D7D0CDE76}" dt="2024-05-28T19:18:45.250" v="44" actId="22"/>
          <ac:picMkLst>
            <pc:docMk/>
            <pc:sldMk cId="3042953501" sldId="516"/>
            <ac:picMk id="12" creationId="{B883F745-06AA-FB65-1142-D793ED12F48E}"/>
          </ac:picMkLst>
        </pc:picChg>
        <pc:picChg chg="add del mod">
          <ac:chgData name="Jarcik, Andrew" userId="721e7551-2db4-4102-b3c1-66f8e1f48f72" providerId="ADAL" clId="{703D6E77-53F4-410F-9736-005D7D0CDE76}" dt="2024-05-28T19:24:35.356" v="173" actId="478"/>
          <ac:picMkLst>
            <pc:docMk/>
            <pc:sldMk cId="3042953501" sldId="516"/>
            <ac:picMk id="14" creationId="{505B8A26-0F70-5946-F614-773CF0D24BDF}"/>
          </ac:picMkLst>
        </pc:picChg>
        <pc:picChg chg="add mod">
          <ac:chgData name="Jarcik, Andrew" userId="721e7551-2db4-4102-b3c1-66f8e1f48f72" providerId="ADAL" clId="{703D6E77-53F4-410F-9736-005D7D0CDE76}" dt="2024-06-06T18:43:26.502" v="2415" actId="14826"/>
          <ac:picMkLst>
            <pc:docMk/>
            <pc:sldMk cId="3042953501" sldId="516"/>
            <ac:picMk id="18" creationId="{FF42AA36-5F5A-B220-2CE1-282CAD468E2E}"/>
          </ac:picMkLst>
        </pc:picChg>
        <pc:picChg chg="add del mod">
          <ac:chgData name="Jarcik, Andrew" userId="721e7551-2db4-4102-b3c1-66f8e1f48f72" providerId="ADAL" clId="{703D6E77-53F4-410F-9736-005D7D0CDE76}" dt="2024-05-28T19:42:01.202" v="410" actId="478"/>
          <ac:picMkLst>
            <pc:docMk/>
            <pc:sldMk cId="3042953501" sldId="516"/>
            <ac:picMk id="21" creationId="{B2818BF9-AB53-F4FF-B2C9-64F3F0EAE70E}"/>
          </ac:picMkLst>
        </pc:picChg>
        <pc:cxnChg chg="add mod">
          <ac:chgData name="Jarcik, Andrew" userId="721e7551-2db4-4102-b3c1-66f8e1f48f72" providerId="ADAL" clId="{703D6E77-53F4-410F-9736-005D7D0CDE76}" dt="2024-05-28T19:41:17.624" v="402"/>
          <ac:cxnSpMkLst>
            <pc:docMk/>
            <pc:sldMk cId="3042953501" sldId="516"/>
            <ac:cxnSpMk id="19" creationId="{E6151FA1-9CE1-397C-D866-6810E3344471}"/>
          </ac:cxnSpMkLst>
        </pc:cxnChg>
      </pc:sldChg>
      <pc:sldChg chg="addSp delSp modSp add mod">
        <pc:chgData name="Jarcik, Andrew" userId="721e7551-2db4-4102-b3c1-66f8e1f48f72" providerId="ADAL" clId="{703D6E77-53F4-410F-9736-005D7D0CDE76}" dt="2024-06-06T18:46:14.265" v="2537" actId="20577"/>
        <pc:sldMkLst>
          <pc:docMk/>
          <pc:sldMk cId="488307633" sldId="517"/>
        </pc:sldMkLst>
        <pc:spChg chg="add mod">
          <ac:chgData name="Jarcik, Andrew" userId="721e7551-2db4-4102-b3c1-66f8e1f48f72" providerId="ADAL" clId="{703D6E77-53F4-410F-9736-005D7D0CDE76}" dt="2024-06-06T18:46:14.265" v="2537" actId="20577"/>
          <ac:spMkLst>
            <pc:docMk/>
            <pc:sldMk cId="488307633" sldId="517"/>
            <ac:spMk id="5" creationId="{A1F91E32-0F10-FA81-5463-01926B3687DF}"/>
          </ac:spMkLst>
        </pc:spChg>
        <pc:spChg chg="add mod ord">
          <ac:chgData name="Jarcik, Andrew" userId="721e7551-2db4-4102-b3c1-66f8e1f48f72" providerId="ADAL" clId="{703D6E77-53F4-410F-9736-005D7D0CDE76}" dt="2024-05-28T19:58:15.245" v="718" actId="339"/>
          <ac:spMkLst>
            <pc:docMk/>
            <pc:sldMk cId="488307633" sldId="517"/>
            <ac:spMk id="6" creationId="{F94B7A3E-7BA6-98D5-5D98-FE1DDC3E5528}"/>
          </ac:spMkLst>
        </pc:spChg>
        <pc:spChg chg="mod">
          <ac:chgData name="Jarcik, Andrew" userId="721e7551-2db4-4102-b3c1-66f8e1f48f72" providerId="ADAL" clId="{703D6E77-53F4-410F-9736-005D7D0CDE76}" dt="2024-05-28T19:25:25.621" v="188" actId="20577"/>
          <ac:spMkLst>
            <pc:docMk/>
            <pc:sldMk cId="488307633" sldId="517"/>
            <ac:spMk id="7" creationId="{ED00FDC9-9CFC-6709-6C22-2017CD2DC501}"/>
          </ac:spMkLst>
        </pc:spChg>
        <pc:picChg chg="add mod">
          <ac:chgData name="Jarcik, Andrew" userId="721e7551-2db4-4102-b3c1-66f8e1f48f72" providerId="ADAL" clId="{703D6E77-53F4-410F-9736-005D7D0CDE76}" dt="2024-06-06T18:42:51.815" v="2413" actId="14826"/>
          <ac:picMkLst>
            <pc:docMk/>
            <pc:sldMk cId="488307633" sldId="517"/>
            <ac:picMk id="4" creationId="{A9E437F7-920F-52B3-D93B-ECD05FE334DF}"/>
          </ac:picMkLst>
        </pc:picChg>
        <pc:picChg chg="add del">
          <ac:chgData name="Jarcik, Andrew" userId="721e7551-2db4-4102-b3c1-66f8e1f48f72" providerId="ADAL" clId="{703D6E77-53F4-410F-9736-005D7D0CDE76}" dt="2024-06-06T18:42:53.487" v="2414" actId="478"/>
          <ac:picMkLst>
            <pc:docMk/>
            <pc:sldMk cId="488307633" sldId="517"/>
            <ac:picMk id="8" creationId="{C716B3A7-D4AD-D686-35B6-0BE51F7159A5}"/>
          </ac:picMkLst>
        </pc:picChg>
        <pc:picChg chg="del">
          <ac:chgData name="Jarcik, Andrew" userId="721e7551-2db4-4102-b3c1-66f8e1f48f72" providerId="ADAL" clId="{703D6E77-53F4-410F-9736-005D7D0CDE76}" dt="2024-05-28T19:23:59.570" v="170" actId="478"/>
          <ac:picMkLst>
            <pc:docMk/>
            <pc:sldMk cId="488307633" sldId="517"/>
            <ac:picMk id="14" creationId="{505B8A26-0F70-5946-F614-773CF0D24BDF}"/>
          </ac:picMkLst>
        </pc:picChg>
        <pc:cxnChg chg="add mod">
          <ac:chgData name="Jarcik, Andrew" userId="721e7551-2db4-4102-b3c1-66f8e1f48f72" providerId="ADAL" clId="{703D6E77-53F4-410F-9736-005D7D0CDE76}" dt="2024-05-28T19:40:30.888" v="395" actId="1076"/>
          <ac:cxnSpMkLst>
            <pc:docMk/>
            <pc:sldMk cId="488307633" sldId="517"/>
            <ac:cxnSpMk id="9" creationId="{CAA05D27-7147-EC4A-0014-21E9F2769A98}"/>
          </ac:cxnSpMkLst>
        </pc:cxnChg>
      </pc:sldChg>
      <pc:sldChg chg="addSp delSp modSp add mod modNotesTx">
        <pc:chgData name="Jarcik, Andrew" userId="721e7551-2db4-4102-b3c1-66f8e1f48f72" providerId="ADAL" clId="{703D6E77-53F4-410F-9736-005D7D0CDE76}" dt="2024-06-06T19:01:10.251" v="2639" actId="1076"/>
        <pc:sldMkLst>
          <pc:docMk/>
          <pc:sldMk cId="1989782594" sldId="518"/>
        </pc:sldMkLst>
        <pc:spChg chg="add mod">
          <ac:chgData name="Jarcik, Andrew" userId="721e7551-2db4-4102-b3c1-66f8e1f48f72" providerId="ADAL" clId="{703D6E77-53F4-410F-9736-005D7D0CDE76}" dt="2024-06-06T18:52:06.862" v="2545"/>
          <ac:spMkLst>
            <pc:docMk/>
            <pc:sldMk cId="1989782594" sldId="518"/>
            <ac:spMk id="2" creationId="{76478884-0EA7-561D-3807-A3D9B1AFB53B}"/>
          </ac:spMkLst>
        </pc:spChg>
        <pc:spChg chg="mod">
          <ac:chgData name="Jarcik, Andrew" userId="721e7551-2db4-4102-b3c1-66f8e1f48f72" providerId="ADAL" clId="{703D6E77-53F4-410F-9736-005D7D0CDE76}" dt="2024-06-06T18:57:28.727" v="2606" actId="20577"/>
          <ac:spMkLst>
            <pc:docMk/>
            <pc:sldMk cId="1989782594" sldId="518"/>
            <ac:spMk id="5" creationId="{A1F91E32-0F10-FA81-5463-01926B3687DF}"/>
          </ac:spMkLst>
        </pc:spChg>
        <pc:spChg chg="del">
          <ac:chgData name="Jarcik, Andrew" userId="721e7551-2db4-4102-b3c1-66f8e1f48f72" providerId="ADAL" clId="{703D6E77-53F4-410F-9736-005D7D0CDE76}" dt="2024-05-28T19:53:43.329" v="452" actId="478"/>
          <ac:spMkLst>
            <pc:docMk/>
            <pc:sldMk cId="1989782594" sldId="518"/>
            <ac:spMk id="6" creationId="{F94B7A3E-7BA6-98D5-5D98-FE1DDC3E5528}"/>
          </ac:spMkLst>
        </pc:spChg>
        <pc:spChg chg="mod">
          <ac:chgData name="Jarcik, Andrew" userId="721e7551-2db4-4102-b3c1-66f8e1f48f72" providerId="ADAL" clId="{703D6E77-53F4-410F-9736-005D7D0CDE76}" dt="2024-06-06T18:58:48.147" v="2612" actId="20577"/>
          <ac:spMkLst>
            <pc:docMk/>
            <pc:sldMk cId="1989782594" sldId="518"/>
            <ac:spMk id="7" creationId="{ED00FDC9-9CFC-6709-6C22-2017CD2DC501}"/>
          </ac:spMkLst>
        </pc:spChg>
        <pc:spChg chg="add mod">
          <ac:chgData name="Jarcik, Andrew" userId="721e7551-2db4-4102-b3c1-66f8e1f48f72" providerId="ADAL" clId="{703D6E77-53F4-410F-9736-005D7D0CDE76}" dt="2024-06-06T19:01:10.251" v="2639" actId="1076"/>
          <ac:spMkLst>
            <pc:docMk/>
            <pc:sldMk cId="1989782594" sldId="518"/>
            <ac:spMk id="10" creationId="{86C20861-6F04-B16A-EDEC-9F8E4DDB8CCA}"/>
          </ac:spMkLst>
        </pc:spChg>
        <pc:picChg chg="add mod">
          <ac:chgData name="Jarcik, Andrew" userId="721e7551-2db4-4102-b3c1-66f8e1f48f72" providerId="ADAL" clId="{703D6E77-53F4-410F-9736-005D7D0CDE76}" dt="2024-06-06T18:55:09.116" v="2554" actId="1076"/>
          <ac:picMkLst>
            <pc:docMk/>
            <pc:sldMk cId="1989782594" sldId="518"/>
            <ac:picMk id="4" creationId="{0E35DF14-4D1F-7475-DE7B-952B0CB2E20C}"/>
          </ac:picMkLst>
        </pc:picChg>
        <pc:picChg chg="del">
          <ac:chgData name="Jarcik, Andrew" userId="721e7551-2db4-4102-b3c1-66f8e1f48f72" providerId="ADAL" clId="{703D6E77-53F4-410F-9736-005D7D0CDE76}" dt="2024-05-28T19:53:40.674" v="451" actId="478"/>
          <ac:picMkLst>
            <pc:docMk/>
            <pc:sldMk cId="1989782594" sldId="518"/>
            <ac:picMk id="4" creationId="{A9E437F7-920F-52B3-D93B-ECD05FE334DF}"/>
          </ac:picMkLst>
        </pc:picChg>
        <pc:picChg chg="add mod">
          <ac:chgData name="Jarcik, Andrew" userId="721e7551-2db4-4102-b3c1-66f8e1f48f72" providerId="ADAL" clId="{703D6E77-53F4-410F-9736-005D7D0CDE76}" dt="2024-06-06T19:01:06.892" v="2638" actId="1076"/>
          <ac:picMkLst>
            <pc:docMk/>
            <pc:sldMk cId="1989782594" sldId="518"/>
            <ac:picMk id="8" creationId="{31E946E2-95D6-7347-68D3-552938D1B452}"/>
          </ac:picMkLst>
        </pc:picChg>
      </pc:sldChg>
      <pc:sldChg chg="addSp delSp modSp add del mod modNotesTx">
        <pc:chgData name="Jarcik, Andrew" userId="721e7551-2db4-4102-b3c1-66f8e1f48f72" providerId="ADAL" clId="{703D6E77-53F4-410F-9736-005D7D0CDE76}" dt="2024-06-06T18:11:56.544" v="2210" actId="2696"/>
        <pc:sldMkLst>
          <pc:docMk/>
          <pc:sldMk cId="2160704727" sldId="519"/>
        </pc:sldMkLst>
        <pc:spChg chg="mod">
          <ac:chgData name="Jarcik, Andrew" userId="721e7551-2db4-4102-b3c1-66f8e1f48f72" providerId="ADAL" clId="{703D6E77-53F4-410F-9736-005D7D0CDE76}" dt="2024-05-31T17:37:15.710" v="778" actId="313"/>
          <ac:spMkLst>
            <pc:docMk/>
            <pc:sldMk cId="2160704727" sldId="519"/>
            <ac:spMk id="3" creationId="{888DDC04-4BDA-C96D-7BAD-525B41118022}"/>
          </ac:spMkLst>
        </pc:spChg>
        <pc:spChg chg="add del mod">
          <ac:chgData name="Jarcik, Andrew" userId="721e7551-2db4-4102-b3c1-66f8e1f48f72" providerId="ADAL" clId="{703D6E77-53F4-410F-9736-005D7D0CDE76}" dt="2024-05-31T17:40:53.647" v="849" actId="478"/>
          <ac:spMkLst>
            <pc:docMk/>
            <pc:sldMk cId="2160704727" sldId="519"/>
            <ac:spMk id="4" creationId="{88CA6835-A4D0-0FD8-E6C7-2E113BB8FD6D}"/>
          </ac:spMkLst>
        </pc:spChg>
        <pc:graphicFrameChg chg="mod">
          <ac:chgData name="Jarcik, Andrew" userId="721e7551-2db4-4102-b3c1-66f8e1f48f72" providerId="ADAL" clId="{703D6E77-53F4-410F-9736-005D7D0CDE76}" dt="2024-05-31T17:41:04.099" v="854"/>
          <ac:graphicFrameMkLst>
            <pc:docMk/>
            <pc:sldMk cId="2160704727" sldId="519"/>
            <ac:graphicFrameMk id="6" creationId="{36DD22AA-2976-01F3-38C1-6A8D4FAF607B}"/>
          </ac:graphicFrameMkLst>
        </pc:graphicFrameChg>
      </pc:sldChg>
      <pc:sldChg chg="modSp">
        <pc:chgData name="Jarcik, Andrew" userId="721e7551-2db4-4102-b3c1-66f8e1f48f72" providerId="ADAL" clId="{703D6E77-53F4-410F-9736-005D7D0CDE76}" dt="2024-06-06T18:20:42.503" v="2311"/>
        <pc:sldMkLst>
          <pc:docMk/>
          <pc:sldMk cId="1472814607" sldId="522"/>
        </pc:sldMkLst>
        <pc:graphicFrameChg chg="mod">
          <ac:chgData name="Jarcik, Andrew" userId="721e7551-2db4-4102-b3c1-66f8e1f48f72" providerId="ADAL" clId="{703D6E77-53F4-410F-9736-005D7D0CDE76}" dt="2024-06-06T18:20:42.503" v="2311"/>
          <ac:graphicFrameMkLst>
            <pc:docMk/>
            <pc:sldMk cId="1472814607" sldId="522"/>
            <ac:graphicFrameMk id="6" creationId="{D01765DE-86D8-67A6-912A-9F6C2296EA2A}"/>
          </ac:graphicFrameMkLst>
        </pc:graphicFrameChg>
      </pc:sldChg>
      <pc:sldChg chg="modSp new mod">
        <pc:chgData name="Jarcik, Andrew" userId="721e7551-2db4-4102-b3c1-66f8e1f48f72" providerId="ADAL" clId="{703D6E77-53F4-410F-9736-005D7D0CDE76}" dt="2024-06-06T18:11:49.996" v="2209" actId="255"/>
        <pc:sldMkLst>
          <pc:docMk/>
          <pc:sldMk cId="1752110843" sldId="525"/>
        </pc:sldMkLst>
        <pc:spChg chg="mod">
          <ac:chgData name="Jarcik, Andrew" userId="721e7551-2db4-4102-b3c1-66f8e1f48f72" providerId="ADAL" clId="{703D6E77-53F4-410F-9736-005D7D0CDE76}" dt="2024-06-06T18:11:41.528" v="2202" actId="20577"/>
          <ac:spMkLst>
            <pc:docMk/>
            <pc:sldMk cId="1752110843" sldId="525"/>
            <ac:spMk id="2" creationId="{80AFE800-B939-9799-1B16-12FE19C41BF6}"/>
          </ac:spMkLst>
        </pc:spChg>
        <pc:spChg chg="mod">
          <ac:chgData name="Jarcik, Andrew" userId="721e7551-2db4-4102-b3c1-66f8e1f48f72" providerId="ADAL" clId="{703D6E77-53F4-410F-9736-005D7D0CDE76}" dt="2024-06-06T18:11:49.996" v="2209" actId="255"/>
          <ac:spMkLst>
            <pc:docMk/>
            <pc:sldMk cId="1752110843" sldId="525"/>
            <ac:spMk id="3" creationId="{5DE5827D-3EF6-D4EA-08BF-2CB1D8F63053}"/>
          </ac:spMkLst>
        </pc:spChg>
      </pc:sldChg>
      <pc:sldChg chg="modSp new mod">
        <pc:chgData name="Jarcik, Andrew" userId="721e7551-2db4-4102-b3c1-66f8e1f48f72" providerId="ADAL" clId="{703D6E77-53F4-410F-9736-005D7D0CDE76}" dt="2024-06-06T18:12:50.328" v="2236" actId="255"/>
        <pc:sldMkLst>
          <pc:docMk/>
          <pc:sldMk cId="3485339894" sldId="526"/>
        </pc:sldMkLst>
        <pc:spChg chg="mod">
          <ac:chgData name="Jarcik, Andrew" userId="721e7551-2db4-4102-b3c1-66f8e1f48f72" providerId="ADAL" clId="{703D6E77-53F4-410F-9736-005D7D0CDE76}" dt="2024-06-06T18:12:45.554" v="2235" actId="20577"/>
          <ac:spMkLst>
            <pc:docMk/>
            <pc:sldMk cId="3485339894" sldId="526"/>
            <ac:spMk id="2" creationId="{8938C48A-8CF7-D014-85AA-2D36916E7907}"/>
          </ac:spMkLst>
        </pc:spChg>
        <pc:spChg chg="mod">
          <ac:chgData name="Jarcik, Andrew" userId="721e7551-2db4-4102-b3c1-66f8e1f48f72" providerId="ADAL" clId="{703D6E77-53F4-410F-9736-005D7D0CDE76}" dt="2024-06-06T18:12:50.328" v="2236" actId="255"/>
          <ac:spMkLst>
            <pc:docMk/>
            <pc:sldMk cId="3485339894" sldId="526"/>
            <ac:spMk id="3" creationId="{050278DC-1E28-2B37-0969-400BF2B0B241}"/>
          </ac:spMkLst>
        </pc:spChg>
      </pc:sldChg>
      <pc:sldChg chg="new del">
        <pc:chgData name="Jarcik, Andrew" userId="721e7551-2db4-4102-b3c1-66f8e1f48f72" providerId="ADAL" clId="{703D6E77-53F4-410F-9736-005D7D0CDE76}" dt="2024-06-06T18:13:21.462" v="2238" actId="2696"/>
        <pc:sldMkLst>
          <pc:docMk/>
          <pc:sldMk cId="4138662706" sldId="527"/>
        </pc:sldMkLst>
      </pc:sldChg>
      <pc:sldChg chg="modSp new mod">
        <pc:chgData name="Jarcik, Andrew" userId="721e7551-2db4-4102-b3c1-66f8e1f48f72" providerId="ADAL" clId="{703D6E77-53F4-410F-9736-005D7D0CDE76}" dt="2024-06-06T18:16:24.181" v="2310" actId="20577"/>
        <pc:sldMkLst>
          <pc:docMk/>
          <pc:sldMk cId="2145686802" sldId="528"/>
        </pc:sldMkLst>
        <pc:spChg chg="mod">
          <ac:chgData name="Jarcik, Andrew" userId="721e7551-2db4-4102-b3c1-66f8e1f48f72" providerId="ADAL" clId="{703D6E77-53F4-410F-9736-005D7D0CDE76}" dt="2024-06-06T18:16:24.181" v="2310" actId="20577"/>
          <ac:spMkLst>
            <pc:docMk/>
            <pc:sldMk cId="2145686802" sldId="528"/>
            <ac:spMk id="2" creationId="{2A255748-8E59-14FB-5801-03A336626AE0}"/>
          </ac:spMkLst>
        </pc:spChg>
        <pc:spChg chg="mod">
          <ac:chgData name="Jarcik, Andrew" userId="721e7551-2db4-4102-b3c1-66f8e1f48f72" providerId="ADAL" clId="{703D6E77-53F4-410F-9736-005D7D0CDE76}" dt="2024-06-06T18:14:01.794" v="2253" actId="255"/>
          <ac:spMkLst>
            <pc:docMk/>
            <pc:sldMk cId="2145686802" sldId="528"/>
            <ac:spMk id="3" creationId="{013A3B71-95B1-80CB-8C05-82B381385822}"/>
          </ac:spMkLst>
        </pc:spChg>
      </pc:sldChg>
      <pc:sldChg chg="modSp new mod">
        <pc:chgData name="Jarcik, Andrew" userId="721e7551-2db4-4102-b3c1-66f8e1f48f72" providerId="ADAL" clId="{703D6E77-53F4-410F-9736-005D7D0CDE76}" dt="2024-06-06T18:15:03.286" v="2276" actId="255"/>
        <pc:sldMkLst>
          <pc:docMk/>
          <pc:sldMk cId="1896605862" sldId="529"/>
        </pc:sldMkLst>
        <pc:spChg chg="mod">
          <ac:chgData name="Jarcik, Andrew" userId="721e7551-2db4-4102-b3c1-66f8e1f48f72" providerId="ADAL" clId="{703D6E77-53F4-410F-9736-005D7D0CDE76}" dt="2024-06-06T18:14:56.309" v="2269" actId="20577"/>
          <ac:spMkLst>
            <pc:docMk/>
            <pc:sldMk cId="1896605862" sldId="529"/>
            <ac:spMk id="2" creationId="{1099A175-2162-3CC3-C374-6206E8FB8B5F}"/>
          </ac:spMkLst>
        </pc:spChg>
        <pc:spChg chg="mod">
          <ac:chgData name="Jarcik, Andrew" userId="721e7551-2db4-4102-b3c1-66f8e1f48f72" providerId="ADAL" clId="{703D6E77-53F4-410F-9736-005D7D0CDE76}" dt="2024-06-06T18:15:03.286" v="2276" actId="255"/>
          <ac:spMkLst>
            <pc:docMk/>
            <pc:sldMk cId="1896605862" sldId="529"/>
            <ac:spMk id="3" creationId="{B4AA5C87-CF14-CB0D-3476-9EA55D205098}"/>
          </ac:spMkLst>
        </pc:spChg>
      </pc:sldChg>
      <pc:sldChg chg="modSp new mod">
        <pc:chgData name="Jarcik, Andrew" userId="721e7551-2db4-4102-b3c1-66f8e1f48f72" providerId="ADAL" clId="{703D6E77-53F4-410F-9736-005D7D0CDE76}" dt="2024-06-06T18:15:49.667" v="2298" actId="255"/>
        <pc:sldMkLst>
          <pc:docMk/>
          <pc:sldMk cId="2614423387" sldId="530"/>
        </pc:sldMkLst>
        <pc:spChg chg="mod">
          <ac:chgData name="Jarcik, Andrew" userId="721e7551-2db4-4102-b3c1-66f8e1f48f72" providerId="ADAL" clId="{703D6E77-53F4-410F-9736-005D7D0CDE76}" dt="2024-06-06T18:15:41.157" v="2289" actId="20577"/>
          <ac:spMkLst>
            <pc:docMk/>
            <pc:sldMk cId="2614423387" sldId="530"/>
            <ac:spMk id="2" creationId="{60252302-29AA-01FD-69AD-025897B6A68A}"/>
          </ac:spMkLst>
        </pc:spChg>
        <pc:spChg chg="mod">
          <ac:chgData name="Jarcik, Andrew" userId="721e7551-2db4-4102-b3c1-66f8e1f48f72" providerId="ADAL" clId="{703D6E77-53F4-410F-9736-005D7D0CDE76}" dt="2024-06-06T18:15:49.667" v="2298" actId="255"/>
          <ac:spMkLst>
            <pc:docMk/>
            <pc:sldMk cId="2614423387" sldId="530"/>
            <ac:spMk id="3" creationId="{F7CA0CDB-E496-DAAF-0F32-BCBEF236B0F1}"/>
          </ac:spMkLst>
        </pc:spChg>
      </pc:sldChg>
      <pc:sldMasterChg chg="delSp modSp mod">
        <pc:chgData name="Jarcik, Andrew" userId="721e7551-2db4-4102-b3c1-66f8e1f48f72" providerId="ADAL" clId="{703D6E77-53F4-410F-9736-005D7D0CDE76}" dt="2024-05-28T19:51:01.749" v="438" actId="207"/>
        <pc:sldMasterMkLst>
          <pc:docMk/>
          <pc:sldMasterMk cId="1863342551" sldId="2147483945"/>
        </pc:sldMasterMkLst>
        <pc:spChg chg="mod">
          <ac:chgData name="Jarcik, Andrew" userId="721e7551-2db4-4102-b3c1-66f8e1f48f72" providerId="ADAL" clId="{703D6E77-53F4-410F-9736-005D7D0CDE76}" dt="2024-05-28T19:51:01.749" v="438" actId="207"/>
          <ac:spMkLst>
            <pc:docMk/>
            <pc:sldMasterMk cId="1863342551" sldId="2147483945"/>
            <ac:spMk id="15" creationId="{00000000-0000-0000-0000-000000000000}"/>
          </ac:spMkLst>
        </pc:spChg>
        <pc:spChg chg="del mod">
          <ac:chgData name="Jarcik, Andrew" userId="721e7551-2db4-4102-b3c1-66f8e1f48f72" providerId="ADAL" clId="{703D6E77-53F4-410F-9736-005D7D0CDE76}" dt="2024-05-28T19:47:21.458" v="425"/>
          <ac:spMkLst>
            <pc:docMk/>
            <pc:sldMasterMk cId="1863342551" sldId="2147483945"/>
            <ac:spMk id="18" creationId="{00000000-0000-0000-0000-000000000000}"/>
          </ac:spMkLst>
        </pc:spChg>
      </pc:sldMasterChg>
      <pc:sldMasterChg chg="new del mod addSldLayout delSldLayout">
        <pc:chgData name="Jarcik, Andrew" userId="721e7551-2db4-4102-b3c1-66f8e1f48f72" providerId="ADAL" clId="{703D6E77-53F4-410F-9736-005D7D0CDE76}" dt="2024-05-28T19:46:19.561" v="422" actId="6938"/>
        <pc:sldMasterMkLst>
          <pc:docMk/>
          <pc:sldMasterMk cId="1108424846" sldId="2147484032"/>
        </pc:sldMasterMkLst>
        <pc:sldLayoutChg chg="new del replId">
          <pc:chgData name="Jarcik, Andrew" userId="721e7551-2db4-4102-b3c1-66f8e1f48f72" providerId="ADAL" clId="{703D6E77-53F4-410F-9736-005D7D0CDE76}" dt="2024-05-28T19:46:19.561" v="422" actId="6938"/>
          <pc:sldLayoutMkLst>
            <pc:docMk/>
            <pc:sldMasterMk cId="1108424846" sldId="2147484032"/>
            <pc:sldLayoutMk cId="2371706668" sldId="2147484033"/>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401018358" sldId="2147484034"/>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712843880" sldId="2147484035"/>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826232897" sldId="2147484036"/>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295118659" sldId="2147484037"/>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916658494" sldId="2147484038"/>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385248228" sldId="2147484039"/>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552533501" sldId="2147484040"/>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556089499" sldId="2147484041"/>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244821776" sldId="2147484042"/>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214711346" sldId="2147484043"/>
          </pc:sldLayoutMkLst>
        </pc:sldLayoutChg>
      </pc:sldMasterChg>
      <pc:sldMasterChg chg="new mod addSldLayout">
        <pc:chgData name="Jarcik, Andrew" userId="721e7551-2db4-4102-b3c1-66f8e1f48f72" providerId="ADAL" clId="{703D6E77-53F4-410F-9736-005D7D0CDE76}" dt="2024-05-28T19:50:33.978" v="436" actId="6938"/>
        <pc:sldMasterMkLst>
          <pc:docMk/>
          <pc:sldMasterMk cId="3031435209" sldId="2147484032"/>
        </pc:sldMasterMkLst>
        <pc:sldLayoutChg chg="new replId">
          <pc:chgData name="Jarcik, Andrew" userId="721e7551-2db4-4102-b3c1-66f8e1f48f72" providerId="ADAL" clId="{703D6E77-53F4-410F-9736-005D7D0CDE76}" dt="2024-05-28T19:50:33.978" v="436" actId="6938"/>
          <pc:sldLayoutMkLst>
            <pc:docMk/>
            <pc:sldMasterMk cId="3031435209" sldId="2147484032"/>
            <pc:sldLayoutMk cId="2359544263" sldId="2147484033"/>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4247537064" sldId="2147484034"/>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53832102" sldId="2147484035"/>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780929399" sldId="2147484036"/>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546291863" sldId="2147484037"/>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103136405" sldId="2147484038"/>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254635907" sldId="2147484039"/>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779629921" sldId="2147484040"/>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761901646" sldId="2147484041"/>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335845117" sldId="2147484042"/>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558860759" sldId="2147484043"/>
          </pc:sldLayoutMkLst>
        </pc:sldLayoutChg>
      </pc:sldMasterChg>
    </pc:docChg>
  </pc:docChgLst>
  <pc:docChgLst>
    <pc:chgData name="Mercado, Andrea Marisol" userId="S::andmercado@deloitte.com::86282f0d-01fd-4acc-9387-9717b48c3e5d" providerId="AD" clId="Web-{3910DFEC-8384-B24E-E8E9-FD46AC3DC63D}"/>
    <pc:docChg chg="addSld delSld modSld sldOrd">
      <pc:chgData name="Mercado, Andrea Marisol" userId="S::andmercado@deloitte.com::86282f0d-01fd-4acc-9387-9717b48c3e5d" providerId="AD" clId="Web-{3910DFEC-8384-B24E-E8E9-FD46AC3DC63D}" dt="2024-05-07T20:58:44.522" v="810" actId="20577"/>
      <pc:docMkLst>
        <pc:docMk/>
      </pc:docMkLst>
      <pc:sldChg chg="delSp modSp ord modNotes">
        <pc:chgData name="Mercado, Andrea Marisol" userId="S::andmercado@deloitte.com::86282f0d-01fd-4acc-9387-9717b48c3e5d" providerId="AD" clId="Web-{3910DFEC-8384-B24E-E8E9-FD46AC3DC63D}" dt="2024-05-07T20:58:44.522" v="810" actId="20577"/>
        <pc:sldMkLst>
          <pc:docMk/>
          <pc:sldMk cId="4231841769" sldId="347"/>
        </pc:sldMkLst>
        <pc:spChg chg="mod">
          <ac:chgData name="Mercado, Andrea Marisol" userId="S::andmercado@deloitte.com::86282f0d-01fd-4acc-9387-9717b48c3e5d" providerId="AD" clId="Web-{3910DFEC-8384-B24E-E8E9-FD46AC3DC63D}" dt="2024-05-07T20:54:45.406" v="801" actId="20577"/>
          <ac:spMkLst>
            <pc:docMk/>
            <pc:sldMk cId="4231841769" sldId="347"/>
            <ac:spMk id="2" creationId="{00000000-0000-0000-0000-000000000000}"/>
          </ac:spMkLst>
        </pc:spChg>
        <pc:spChg chg="del mod">
          <ac:chgData name="Mercado, Andrea Marisol" userId="S::andmercado@deloitte.com::86282f0d-01fd-4acc-9387-9717b48c3e5d" providerId="AD" clId="Web-{3910DFEC-8384-B24E-E8E9-FD46AC3DC63D}" dt="2024-05-07T20:54:57.859" v="804"/>
          <ac:spMkLst>
            <pc:docMk/>
            <pc:sldMk cId="4231841769" sldId="347"/>
            <ac:spMk id="25" creationId="{00000000-0000-0000-0000-000000000000}"/>
          </ac:spMkLst>
        </pc:spChg>
        <pc:spChg chg="mod">
          <ac:chgData name="Mercado, Andrea Marisol" userId="S::andmercado@deloitte.com::86282f0d-01fd-4acc-9387-9717b48c3e5d" providerId="AD" clId="Web-{3910DFEC-8384-B24E-E8E9-FD46AC3DC63D}" dt="2024-05-07T20:58:44.522" v="810" actId="20577"/>
          <ac:spMkLst>
            <pc:docMk/>
            <pc:sldMk cId="4231841769" sldId="347"/>
            <ac:spMk id="33" creationId="{02DD7338-A3F8-CDE4-F7EF-B1AC9C848B5E}"/>
          </ac:spMkLst>
        </pc:spChg>
      </pc:sldChg>
      <pc:sldChg chg="addSp delSp modSp">
        <pc:chgData name="Mercado, Andrea Marisol" userId="S::andmercado@deloitte.com::86282f0d-01fd-4acc-9387-9717b48c3e5d" providerId="AD" clId="Web-{3910DFEC-8384-B24E-E8E9-FD46AC3DC63D}" dt="2024-05-07T20:28:13.094" v="49" actId="20577"/>
        <pc:sldMkLst>
          <pc:docMk/>
          <pc:sldMk cId="3293253968" sldId="445"/>
        </pc:sldMkLst>
        <pc:spChg chg="mod">
          <ac:chgData name="Mercado, Andrea Marisol" userId="S::andmercado@deloitte.com::86282f0d-01fd-4acc-9387-9717b48c3e5d" providerId="AD" clId="Web-{3910DFEC-8384-B24E-E8E9-FD46AC3DC63D}" dt="2024-05-07T20:28:13.094" v="49" actId="20577"/>
          <ac:spMkLst>
            <pc:docMk/>
            <pc:sldMk cId="3293253968" sldId="445"/>
            <ac:spMk id="3" creationId="{EAF8D057-484E-4004-9E07-EA016E78EB94}"/>
          </ac:spMkLst>
        </pc:spChg>
        <pc:spChg chg="add del mod">
          <ac:chgData name="Mercado, Andrea Marisol" userId="S::andmercado@deloitte.com::86282f0d-01fd-4acc-9387-9717b48c3e5d" providerId="AD" clId="Web-{3910DFEC-8384-B24E-E8E9-FD46AC3DC63D}" dt="2024-05-07T20:27:27.905" v="13"/>
          <ac:spMkLst>
            <pc:docMk/>
            <pc:sldMk cId="3293253968" sldId="445"/>
            <ac:spMk id="19" creationId="{1BF8ED14-EC92-4D8C-B3CD-80F4F042269B}"/>
          </ac:spMkLst>
        </pc:spChg>
      </pc:sldChg>
      <pc:sldChg chg="ord">
        <pc:chgData name="Mercado, Andrea Marisol" userId="S::andmercado@deloitte.com::86282f0d-01fd-4acc-9387-9717b48c3e5d" providerId="AD" clId="Web-{3910DFEC-8384-B24E-E8E9-FD46AC3DC63D}" dt="2024-05-07T20:39:08.628" v="324"/>
        <pc:sldMkLst>
          <pc:docMk/>
          <pc:sldMk cId="2379442311" sldId="448"/>
        </pc:sldMkLst>
      </pc:sldChg>
      <pc:sldChg chg="modSp">
        <pc:chgData name="Mercado, Andrea Marisol" userId="S::andmercado@deloitte.com::86282f0d-01fd-4acc-9387-9717b48c3e5d" providerId="AD" clId="Web-{3910DFEC-8384-B24E-E8E9-FD46AC3DC63D}" dt="2024-05-07T20:31:33.709" v="138"/>
        <pc:sldMkLst>
          <pc:docMk/>
          <pc:sldMk cId="2966844647" sldId="493"/>
        </pc:sldMkLst>
        <pc:graphicFrameChg chg="mod modGraphic">
          <ac:chgData name="Mercado, Andrea Marisol" userId="S::andmercado@deloitte.com::86282f0d-01fd-4acc-9387-9717b48c3e5d" providerId="AD" clId="Web-{3910DFEC-8384-B24E-E8E9-FD46AC3DC63D}" dt="2024-05-07T20:31:33.709" v="138"/>
          <ac:graphicFrameMkLst>
            <pc:docMk/>
            <pc:sldMk cId="2966844647" sldId="493"/>
            <ac:graphicFrameMk id="7" creationId="{3B0C6FD2-6FE9-6B07-5F93-0F7B3FD967ED}"/>
          </ac:graphicFrameMkLst>
        </pc:graphicFrameChg>
      </pc:sldChg>
      <pc:sldChg chg="modSp add ord replId">
        <pc:chgData name="Mercado, Andrea Marisol" userId="S::andmercado@deloitte.com::86282f0d-01fd-4acc-9387-9717b48c3e5d" providerId="AD" clId="Web-{3910DFEC-8384-B24E-E8E9-FD46AC3DC63D}" dt="2024-05-07T20:38:11.252" v="283" actId="20577"/>
        <pc:sldMkLst>
          <pc:docMk/>
          <pc:sldMk cId="2195862732" sldId="501"/>
        </pc:sldMkLst>
        <pc:spChg chg="mod">
          <ac:chgData name="Mercado, Andrea Marisol" userId="S::andmercado@deloitte.com::86282f0d-01fd-4acc-9387-9717b48c3e5d" providerId="AD" clId="Web-{3910DFEC-8384-B24E-E8E9-FD46AC3DC63D}" dt="2024-05-07T20:38:11.252" v="283" actId="20577"/>
          <ac:spMkLst>
            <pc:docMk/>
            <pc:sldMk cId="2195862732" sldId="501"/>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58.033" v="242" actId="20577"/>
        <pc:sldMkLst>
          <pc:docMk/>
          <pc:sldMk cId="377716646" sldId="502"/>
        </pc:sldMkLst>
        <pc:spChg chg="mod">
          <ac:chgData name="Mercado, Andrea Marisol" userId="S::andmercado@deloitte.com::86282f0d-01fd-4acc-9387-9717b48c3e5d" providerId="AD" clId="Web-{3910DFEC-8384-B24E-E8E9-FD46AC3DC63D}" dt="2024-05-07T20:37:58.033" v="242" actId="20577"/>
          <ac:spMkLst>
            <pc:docMk/>
            <pc:sldMk cId="377716646" sldId="502"/>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46.689" v="205" actId="20577"/>
        <pc:sldMkLst>
          <pc:docMk/>
          <pc:sldMk cId="982031792" sldId="503"/>
        </pc:sldMkLst>
        <pc:spChg chg="mod">
          <ac:chgData name="Mercado, Andrea Marisol" userId="S::andmercado@deloitte.com::86282f0d-01fd-4acc-9387-9717b48c3e5d" providerId="AD" clId="Web-{3910DFEC-8384-B24E-E8E9-FD46AC3DC63D}" dt="2024-05-07T20:37:46.689" v="205" actId="20577"/>
          <ac:spMkLst>
            <pc:docMk/>
            <pc:sldMk cId="982031792" sldId="503"/>
            <ac:spMk id="2" creationId="{00000000-0000-0000-0000-000000000000}"/>
          </ac:spMkLst>
        </pc:spChg>
      </pc:sldChg>
      <pc:sldChg chg="new del">
        <pc:chgData name="Mercado, Andrea Marisol" userId="S::andmercado@deloitte.com::86282f0d-01fd-4acc-9387-9717b48c3e5d" providerId="AD" clId="Web-{3910DFEC-8384-B24E-E8E9-FD46AC3DC63D}" dt="2024-05-07T20:38:16.408" v="285"/>
        <pc:sldMkLst>
          <pc:docMk/>
          <pc:sldMk cId="2841658454" sldId="504"/>
        </pc:sldMkLst>
      </pc:sldChg>
      <pc:sldChg chg="modSp add replId">
        <pc:chgData name="Mercado, Andrea Marisol" userId="S::andmercado@deloitte.com::86282f0d-01fd-4acc-9387-9717b48c3e5d" providerId="AD" clId="Web-{3910DFEC-8384-B24E-E8E9-FD46AC3DC63D}" dt="2024-05-07T20:38:36.643" v="304" actId="20577"/>
        <pc:sldMkLst>
          <pc:docMk/>
          <pc:sldMk cId="4121523291" sldId="504"/>
        </pc:sldMkLst>
        <pc:spChg chg="mod">
          <ac:chgData name="Mercado, Andrea Marisol" userId="S::andmercado@deloitte.com::86282f0d-01fd-4acc-9387-9717b48c3e5d" providerId="AD" clId="Web-{3910DFEC-8384-B24E-E8E9-FD46AC3DC63D}" dt="2024-05-07T20:38:36.643" v="304" actId="20577"/>
          <ac:spMkLst>
            <pc:docMk/>
            <pc:sldMk cId="4121523291" sldId="504"/>
            <ac:spMk id="2" creationId="{00000000-0000-0000-0000-000000000000}"/>
          </ac:spMkLst>
        </pc:spChg>
      </pc:sldChg>
      <pc:sldChg chg="modSp add replId">
        <pc:chgData name="Mercado, Andrea Marisol" userId="S::andmercado@deloitte.com::86282f0d-01fd-4acc-9387-9717b48c3e5d" providerId="AD" clId="Web-{3910DFEC-8384-B24E-E8E9-FD46AC3DC63D}" dt="2024-05-07T20:38:48.784" v="323" actId="20577"/>
        <pc:sldMkLst>
          <pc:docMk/>
          <pc:sldMk cId="3066985548" sldId="505"/>
        </pc:sldMkLst>
        <pc:spChg chg="mod">
          <ac:chgData name="Mercado, Andrea Marisol" userId="S::andmercado@deloitte.com::86282f0d-01fd-4acc-9387-9717b48c3e5d" providerId="AD" clId="Web-{3910DFEC-8384-B24E-E8E9-FD46AC3DC63D}" dt="2024-05-07T20:38:48.784" v="323" actId="20577"/>
          <ac:spMkLst>
            <pc:docMk/>
            <pc:sldMk cId="3066985548" sldId="505"/>
            <ac:spMk id="2" creationId="{00000000-0000-0000-0000-000000000000}"/>
          </ac:spMkLst>
        </pc:spChg>
      </pc:sldChg>
    </pc:docChg>
  </pc:docChgLst>
  <pc:docChgLst>
    <pc:chgData name="Mercado, Andrea Marisol" userId="S::andmercado@deloitte.com::86282f0d-01fd-4acc-9387-9717b48c3e5d" providerId="AD" clId="Web-{047036CE-2E0F-834E-B1DE-981CFE2A90E4}"/>
    <pc:docChg chg="addSld delSld modSld sldOrd">
      <pc:chgData name="Mercado, Andrea Marisol" userId="S::andmercado@deloitte.com::86282f0d-01fd-4acc-9387-9717b48c3e5d" providerId="AD" clId="Web-{047036CE-2E0F-834E-B1DE-981CFE2A90E4}" dt="2024-05-17T20:08:29.153" v="2230" actId="14100"/>
      <pc:docMkLst>
        <pc:docMk/>
      </pc:docMkLst>
      <pc:sldChg chg="addSp delSp modSp mod ord modClrScheme chgLayout">
        <pc:chgData name="Mercado, Andrea Marisol" userId="S::andmercado@deloitte.com::86282f0d-01fd-4acc-9387-9717b48c3e5d" providerId="AD" clId="Web-{047036CE-2E0F-834E-B1DE-981CFE2A90E4}" dt="2024-05-17T18:50:31.812" v="1625"/>
        <pc:sldMkLst>
          <pc:docMk/>
          <pc:sldMk cId="4255256458" sldId="270"/>
        </pc:sldMkLst>
        <pc:spChg chg="add mod">
          <ac:chgData name="Mercado, Andrea Marisol" userId="S::andmercado@deloitte.com::86282f0d-01fd-4acc-9387-9717b48c3e5d" providerId="AD" clId="Web-{047036CE-2E0F-834E-B1DE-981CFE2A90E4}" dt="2024-05-17T18:05:35.415" v="629"/>
          <ac:spMkLst>
            <pc:docMk/>
            <pc:sldMk cId="4255256458" sldId="270"/>
            <ac:spMk id="2" creationId="{43DC8388-6C68-0A9A-F032-537486E94D8A}"/>
          </ac:spMkLst>
        </pc:spChg>
        <pc:spChg chg="mod ord">
          <ac:chgData name="Mercado, Andrea Marisol" userId="S::andmercado@deloitte.com::86282f0d-01fd-4acc-9387-9717b48c3e5d" providerId="AD" clId="Web-{047036CE-2E0F-834E-B1DE-981CFE2A90E4}" dt="2024-05-17T18:05:52.853" v="630"/>
          <ac:spMkLst>
            <pc:docMk/>
            <pc:sldMk cId="4255256458" sldId="270"/>
            <ac:spMk id="9" creationId="{00000000-0000-0000-0000-000000000000}"/>
          </ac:spMkLst>
        </pc:spChg>
        <pc:spChg chg="add del mod">
          <ac:chgData name="Mercado, Andrea Marisol" userId="S::andmercado@deloitte.com::86282f0d-01fd-4acc-9387-9717b48c3e5d" providerId="AD" clId="Web-{047036CE-2E0F-834E-B1DE-981CFE2A90E4}" dt="2024-05-17T18:05:20.352" v="627"/>
          <ac:spMkLst>
            <pc:docMk/>
            <pc:sldMk cId="4255256458" sldId="270"/>
            <ac:spMk id="14" creationId="{63533F6F-3EA1-1984-687C-D3B0FD6E110E}"/>
          </ac:spMkLst>
        </pc:spChg>
        <pc:spChg chg="add del mod">
          <ac:chgData name="Mercado, Andrea Marisol" userId="S::andmercado@deloitte.com::86282f0d-01fd-4acc-9387-9717b48c3e5d" providerId="AD" clId="Web-{047036CE-2E0F-834E-B1DE-981CFE2A90E4}" dt="2024-05-17T18:05:20.352" v="627"/>
          <ac:spMkLst>
            <pc:docMk/>
            <pc:sldMk cId="4255256458" sldId="270"/>
            <ac:spMk id="16" creationId="{14DF22C8-90BE-533F-877C-9C1B78706881}"/>
          </ac:spMkLst>
        </pc:spChg>
      </pc:sldChg>
      <pc:sldChg chg="modSp ord">
        <pc:chgData name="Mercado, Andrea Marisol" userId="S::andmercado@deloitte.com::86282f0d-01fd-4acc-9387-9717b48c3e5d" providerId="AD" clId="Web-{047036CE-2E0F-834E-B1DE-981CFE2A90E4}" dt="2024-05-17T20:00:15.731" v="2152"/>
        <pc:sldMkLst>
          <pc:docMk/>
          <pc:sldMk cId="4231841769" sldId="347"/>
        </pc:sldMkLst>
        <pc:spChg chg="mod">
          <ac:chgData name="Mercado, Andrea Marisol" userId="S::andmercado@deloitte.com::86282f0d-01fd-4acc-9387-9717b48c3e5d" providerId="AD" clId="Web-{047036CE-2E0F-834E-B1DE-981CFE2A90E4}" dt="2024-05-17T19:56:07.910" v="2132" actId="20577"/>
          <ac:spMkLst>
            <pc:docMk/>
            <pc:sldMk cId="4231841769" sldId="347"/>
            <ac:spMk id="2" creationId="{00000000-0000-0000-0000-000000000000}"/>
          </ac:spMkLst>
        </pc:spChg>
      </pc:sldChg>
      <pc:sldChg chg="addSp delSp modSp mod modClrScheme chgLayout">
        <pc:chgData name="Mercado, Andrea Marisol" userId="S::andmercado@deloitte.com::86282f0d-01fd-4acc-9387-9717b48c3e5d" providerId="AD" clId="Web-{047036CE-2E0F-834E-B1DE-981CFE2A90E4}" dt="2024-05-17T19:58:14.414" v="2150"/>
        <pc:sldMkLst>
          <pc:docMk/>
          <pc:sldMk cId="153350407" sldId="377"/>
        </pc:sldMkLst>
        <pc:spChg chg="add del">
          <ac:chgData name="Mercado, Andrea Marisol" userId="S::andmercado@deloitte.com::86282f0d-01fd-4acc-9387-9717b48c3e5d" providerId="AD" clId="Web-{047036CE-2E0F-834E-B1DE-981CFE2A90E4}" dt="2024-05-17T18:13:21.849" v="933"/>
          <ac:spMkLst>
            <pc:docMk/>
            <pc:sldMk cId="153350407" sldId="377"/>
            <ac:spMk id="2" creationId="{00000000-0000-0000-0000-000000000000}"/>
          </ac:spMkLst>
        </pc:spChg>
        <pc:spChg chg="del mod">
          <ac:chgData name="Mercado, Andrea Marisol" userId="S::andmercado@deloitte.com::86282f0d-01fd-4acc-9387-9717b48c3e5d" providerId="AD" clId="Web-{047036CE-2E0F-834E-B1DE-981CFE2A90E4}" dt="2024-05-17T19:58:14.414" v="2150"/>
          <ac:spMkLst>
            <pc:docMk/>
            <pc:sldMk cId="153350407" sldId="377"/>
            <ac:spMk id="3" creationId="{00000000-0000-0000-0000-000000000000}"/>
          </ac:spMkLst>
        </pc:spChg>
        <pc:spChg chg="add">
          <ac:chgData name="Mercado, Andrea Marisol" userId="S::andmercado@deloitte.com::86282f0d-01fd-4acc-9387-9717b48c3e5d" providerId="AD" clId="Web-{047036CE-2E0F-834E-B1DE-981CFE2A90E4}" dt="2024-05-17T18:13:25.177" v="940"/>
          <ac:spMkLst>
            <pc:docMk/>
            <pc:sldMk cId="153350407" sldId="377"/>
            <ac:spMk id="4" creationId="{00000000-0000-0000-0000-000000000000}"/>
          </ac:spMkLst>
        </pc:spChg>
        <pc:spChg chg="mod">
          <ac:chgData name="Mercado, Andrea Marisol" userId="S::andmercado@deloitte.com::86282f0d-01fd-4acc-9387-9717b48c3e5d" providerId="AD" clId="Web-{047036CE-2E0F-834E-B1DE-981CFE2A90E4}" dt="2024-05-17T19:58:09.914" v="2147" actId="20577"/>
          <ac:spMkLst>
            <pc:docMk/>
            <pc:sldMk cId="153350407" sldId="377"/>
            <ac:spMk id="5"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1"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7"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9"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30" creationId="{00000000-0000-0000-0000-000000000000}"/>
          </ac:spMkLst>
        </pc:spChg>
        <pc:picChg chg="mod ord">
          <ac:chgData name="Mercado, Andrea Marisol" userId="S::andmercado@deloitte.com::86282f0d-01fd-4acc-9387-9717b48c3e5d" providerId="AD" clId="Web-{047036CE-2E0F-834E-B1DE-981CFE2A90E4}" dt="2024-05-17T18:13:25.177" v="940"/>
          <ac:picMkLst>
            <pc:docMk/>
            <pc:sldMk cId="153350407" sldId="377"/>
            <ac:picMk id="22" creationId="{8F345E55-0640-0939-00FC-CE973510CA39}"/>
          </ac:picMkLst>
        </pc:picChg>
        <pc:picChg chg="mod ord">
          <ac:chgData name="Mercado, Andrea Marisol" userId="S::andmercado@deloitte.com::86282f0d-01fd-4acc-9387-9717b48c3e5d" providerId="AD" clId="Web-{047036CE-2E0F-834E-B1DE-981CFE2A90E4}" dt="2024-05-17T18:13:25.177" v="940"/>
          <ac:picMkLst>
            <pc:docMk/>
            <pc:sldMk cId="153350407" sldId="377"/>
            <ac:picMk id="23" creationId="{5A4C4F8D-95F3-D54A-CDEA-4C98B05A5EDE}"/>
          </ac:picMkLst>
        </pc:picChg>
        <pc:picChg chg="mod ord modCrop">
          <ac:chgData name="Mercado, Andrea Marisol" userId="S::andmercado@deloitte.com::86282f0d-01fd-4acc-9387-9717b48c3e5d" providerId="AD" clId="Web-{047036CE-2E0F-834E-B1DE-981CFE2A90E4}" dt="2024-05-17T19:57:49.945" v="2140"/>
          <ac:picMkLst>
            <pc:docMk/>
            <pc:sldMk cId="153350407" sldId="377"/>
            <ac:picMk id="24" creationId="{35C85D1C-8E5A-D92C-C245-44DFD96AACEE}"/>
          </ac:picMkLst>
        </pc:picChg>
        <pc:picChg chg="mod ord">
          <ac:chgData name="Mercado, Andrea Marisol" userId="S::andmercado@deloitte.com::86282f0d-01fd-4acc-9387-9717b48c3e5d" providerId="AD" clId="Web-{047036CE-2E0F-834E-B1DE-981CFE2A90E4}" dt="2024-05-17T18:13:25.177" v="940"/>
          <ac:picMkLst>
            <pc:docMk/>
            <pc:sldMk cId="153350407" sldId="377"/>
            <ac:picMk id="25" creationId="{59393852-9338-1D56-7AC8-B70E16D8B6E2}"/>
          </ac:picMkLst>
        </pc:picChg>
      </pc:sldChg>
      <pc:sldChg chg="modNotes">
        <pc:chgData name="Mercado, Andrea Marisol" userId="S::andmercado@deloitte.com::86282f0d-01fd-4acc-9387-9717b48c3e5d" providerId="AD" clId="Web-{047036CE-2E0F-834E-B1DE-981CFE2A90E4}" dt="2024-05-17T16:22:30.010" v="9"/>
        <pc:sldMkLst>
          <pc:docMk/>
          <pc:sldMk cId="2195862732" sldId="501"/>
        </pc:sldMkLst>
      </pc:sldChg>
      <pc:sldChg chg="modSp">
        <pc:chgData name="Mercado, Andrea Marisol" userId="S::andmercado@deloitte.com::86282f0d-01fd-4acc-9387-9717b48c3e5d" providerId="AD" clId="Web-{047036CE-2E0F-834E-B1DE-981CFE2A90E4}" dt="2024-05-17T17:44:46.341" v="144" actId="20577"/>
        <pc:sldMkLst>
          <pc:docMk/>
          <pc:sldMk cId="3066985548" sldId="505"/>
        </pc:sldMkLst>
        <pc:spChg chg="mod">
          <ac:chgData name="Mercado, Andrea Marisol" userId="S::andmercado@deloitte.com::86282f0d-01fd-4acc-9387-9717b48c3e5d" providerId="AD" clId="Web-{047036CE-2E0F-834E-B1DE-981CFE2A90E4}" dt="2024-05-17T17:44:46.341" v="144" actId="20577"/>
          <ac:spMkLst>
            <pc:docMk/>
            <pc:sldMk cId="3066985548" sldId="505"/>
            <ac:spMk id="33" creationId="{02DD7338-A3F8-CDE4-F7EF-B1AC9C848B5E}"/>
          </ac:spMkLst>
        </pc:spChg>
      </pc:sldChg>
      <pc:sldChg chg="addSp delSp modSp new del mod modClrScheme chgLayout modNotes">
        <pc:chgData name="Mercado, Andrea Marisol" userId="S::andmercado@deloitte.com::86282f0d-01fd-4acc-9387-9717b48c3e5d" providerId="AD" clId="Web-{047036CE-2E0F-834E-B1DE-981CFE2A90E4}" dt="2024-05-17T17:53:00.327" v="248"/>
        <pc:sldMkLst>
          <pc:docMk/>
          <pc:sldMk cId="3057559580" sldId="506"/>
        </pc:sldMkLst>
        <pc:spChg chg="del mod">
          <ac:chgData name="Mercado, Andrea Marisol" userId="S::andmercado@deloitte.com::86282f0d-01fd-4acc-9387-9717b48c3e5d" providerId="AD" clId="Web-{047036CE-2E0F-834E-B1DE-981CFE2A90E4}" dt="2024-05-17T17:46:30.126" v="156"/>
          <ac:spMkLst>
            <pc:docMk/>
            <pc:sldMk cId="3057559580" sldId="506"/>
            <ac:spMk id="2" creationId="{844B5B5A-7053-E8AA-D863-28D570BFB0E8}"/>
          </ac:spMkLst>
        </pc:spChg>
        <pc:spChg chg="mod">
          <ac:chgData name="Mercado, Andrea Marisol" userId="S::andmercado@deloitte.com::86282f0d-01fd-4acc-9387-9717b48c3e5d" providerId="AD" clId="Web-{047036CE-2E0F-834E-B1DE-981CFE2A90E4}" dt="2024-05-17T17:48:41.849" v="187" actId="20577"/>
          <ac:spMkLst>
            <pc:docMk/>
            <pc:sldMk cId="3057559580" sldId="506"/>
            <ac:spMk id="3" creationId="{31E4BC9F-45B2-41AA-36A5-EAE05D383782}"/>
          </ac:spMkLst>
        </pc:spChg>
        <pc:spChg chg="add del mod">
          <ac:chgData name="Mercado, Andrea Marisol" userId="S::andmercado@deloitte.com::86282f0d-01fd-4acc-9387-9717b48c3e5d" providerId="AD" clId="Web-{047036CE-2E0F-834E-B1DE-981CFE2A90E4}" dt="2024-05-17T17:48:31.802" v="186"/>
          <ac:spMkLst>
            <pc:docMk/>
            <pc:sldMk cId="3057559580" sldId="506"/>
            <ac:spMk id="4" creationId="{4E5DBA95-6CF3-C2BC-114B-D09600CF903B}"/>
          </ac:spMkLst>
        </pc:spChg>
        <pc:spChg chg="add del mod">
          <ac:chgData name="Mercado, Andrea Marisol" userId="S::andmercado@deloitte.com::86282f0d-01fd-4acc-9387-9717b48c3e5d" providerId="AD" clId="Web-{047036CE-2E0F-834E-B1DE-981CFE2A90E4}" dt="2024-05-17T17:48:31.771" v="185"/>
          <ac:spMkLst>
            <pc:docMk/>
            <pc:sldMk cId="3057559580" sldId="506"/>
            <ac:spMk id="10" creationId="{67E08ACC-FF51-EB73-77C3-B859EA5F0AA7}"/>
          </ac:spMkLst>
        </pc:spChg>
        <pc:spChg chg="add del mod">
          <ac:chgData name="Mercado, Andrea Marisol" userId="S::andmercado@deloitte.com::86282f0d-01fd-4acc-9387-9717b48c3e5d" providerId="AD" clId="Web-{047036CE-2E0F-834E-B1DE-981CFE2A90E4}" dt="2024-05-17T17:48:31.771" v="185"/>
          <ac:spMkLst>
            <pc:docMk/>
            <pc:sldMk cId="3057559580" sldId="506"/>
            <ac:spMk id="12" creationId="{BE2B17EE-5D83-0B52-12C0-DCE998C32D74}"/>
          </ac:spMkLst>
        </pc:spChg>
        <pc:spChg chg="add">
          <ac:chgData name="Mercado, Andrea Marisol" userId="S::andmercado@deloitte.com::86282f0d-01fd-4acc-9387-9717b48c3e5d" providerId="AD" clId="Web-{047036CE-2E0F-834E-B1DE-981CFE2A90E4}" dt="2024-05-17T17:48:31.802" v="186"/>
          <ac:spMkLst>
            <pc:docMk/>
            <pc:sldMk cId="3057559580" sldId="506"/>
            <ac:spMk id="14" creationId="{A4F6A157-704B-77AA-24B1-A3683DE11E7A}"/>
          </ac:spMkLst>
        </pc:spChg>
        <pc:graphicFrameChg chg="add del mod">
          <ac:chgData name="Mercado, Andrea Marisol" userId="S::andmercado@deloitte.com::86282f0d-01fd-4acc-9387-9717b48c3e5d" providerId="AD" clId="Web-{047036CE-2E0F-834E-B1DE-981CFE2A90E4}" dt="2024-05-17T17:48:31.771" v="185"/>
          <ac:graphicFrameMkLst>
            <pc:docMk/>
            <pc:sldMk cId="3057559580" sldId="506"/>
            <ac:graphicFrameMk id="6" creationId="{20368272-702C-CFA1-410D-E665F6AE2F49}"/>
          </ac:graphicFrameMkLst>
        </pc:graphicFrameChg>
        <pc:graphicFrameChg chg="add modGraphic">
          <ac:chgData name="Mercado, Andrea Marisol" userId="S::andmercado@deloitte.com::86282f0d-01fd-4acc-9387-9717b48c3e5d" providerId="AD" clId="Web-{047036CE-2E0F-834E-B1DE-981CFE2A90E4}" dt="2024-05-17T17:50:47.760" v="208" actId="20577"/>
          <ac:graphicFrameMkLst>
            <pc:docMk/>
            <pc:sldMk cId="3057559580" sldId="506"/>
            <ac:graphicFrameMk id="15" creationId="{2C8A5638-1FD3-E5A3-7EBE-C626DB22D3A1}"/>
          </ac:graphicFrameMkLst>
        </pc:graphicFrameChg>
      </pc:sldChg>
      <pc:sldChg chg="modSp new modNotes">
        <pc:chgData name="Mercado, Andrea Marisol" userId="S::andmercado@deloitte.com::86282f0d-01fd-4acc-9387-9717b48c3e5d" providerId="AD" clId="Web-{047036CE-2E0F-834E-B1DE-981CFE2A90E4}" dt="2024-05-17T20:07:27.979" v="2180"/>
        <pc:sldMkLst>
          <pc:docMk/>
          <pc:sldMk cId="966376479" sldId="507"/>
        </pc:sldMkLst>
        <pc:spChg chg="mod">
          <ac:chgData name="Mercado, Andrea Marisol" userId="S::andmercado@deloitte.com::86282f0d-01fd-4acc-9387-9717b48c3e5d" providerId="AD" clId="Web-{047036CE-2E0F-834E-B1DE-981CFE2A90E4}" dt="2024-05-17T18:51:10.439" v="1635" actId="20577"/>
          <ac:spMkLst>
            <pc:docMk/>
            <pc:sldMk cId="966376479" sldId="507"/>
            <ac:spMk id="2" creationId="{DD3E9394-8F12-4664-1399-56007181728D}"/>
          </ac:spMkLst>
        </pc:spChg>
        <pc:spChg chg="mod">
          <ac:chgData name="Mercado, Andrea Marisol" userId="S::andmercado@deloitte.com::86282f0d-01fd-4acc-9387-9717b48c3e5d" providerId="AD" clId="Web-{047036CE-2E0F-834E-B1DE-981CFE2A90E4}" dt="2024-05-17T18:02:03.126" v="415" actId="20577"/>
          <ac:spMkLst>
            <pc:docMk/>
            <pc:sldMk cId="966376479" sldId="507"/>
            <ac:spMk id="3" creationId="{3F3C86EC-6F23-C566-E385-6A80F047ACC8}"/>
          </ac:spMkLst>
        </pc:spChg>
        <pc:spChg chg="mod">
          <ac:chgData name="Mercado, Andrea Marisol" userId="S::andmercado@deloitte.com::86282f0d-01fd-4acc-9387-9717b48c3e5d" providerId="AD" clId="Web-{047036CE-2E0F-834E-B1DE-981CFE2A90E4}" dt="2024-05-17T18:51:14.798" v="1636" actId="20577"/>
          <ac:spMkLst>
            <pc:docMk/>
            <pc:sldMk cId="966376479" sldId="507"/>
            <ac:spMk id="4" creationId="{F08FB232-482A-CED3-4370-277322248203}"/>
          </ac:spMkLst>
        </pc:spChg>
      </pc:sldChg>
      <pc:sldChg chg="modSp new modNotes">
        <pc:chgData name="Mercado, Andrea Marisol" userId="S::andmercado@deloitte.com::86282f0d-01fd-4acc-9387-9717b48c3e5d" providerId="AD" clId="Web-{047036CE-2E0F-834E-B1DE-981CFE2A90E4}" dt="2024-05-17T19:06:11.921" v="1946"/>
        <pc:sldMkLst>
          <pc:docMk/>
          <pc:sldMk cId="3542634899" sldId="508"/>
        </pc:sldMkLst>
        <pc:spChg chg="mod">
          <ac:chgData name="Mercado, Andrea Marisol" userId="S::andmercado@deloitte.com::86282f0d-01fd-4acc-9387-9717b48c3e5d" providerId="AD" clId="Web-{047036CE-2E0F-834E-B1DE-981CFE2A90E4}" dt="2024-05-17T18:51:04.782" v="1634" actId="20577"/>
          <ac:spMkLst>
            <pc:docMk/>
            <pc:sldMk cId="3542634899" sldId="508"/>
            <ac:spMk id="2" creationId="{08FFB4A0-F202-E408-C32A-72DBDF9448F7}"/>
          </ac:spMkLst>
        </pc:spChg>
        <pc:spChg chg="mod">
          <ac:chgData name="Mercado, Andrea Marisol" userId="S::andmercado@deloitte.com::86282f0d-01fd-4acc-9387-9717b48c3e5d" providerId="AD" clId="Web-{047036CE-2E0F-834E-B1DE-981CFE2A90E4}" dt="2024-05-17T18:02:09.564" v="418" actId="20577"/>
          <ac:spMkLst>
            <pc:docMk/>
            <pc:sldMk cId="3542634899" sldId="508"/>
            <ac:spMk id="3" creationId="{49B89635-5B90-4F57-7AFD-3EFB7C8D955B}"/>
          </ac:spMkLst>
        </pc:spChg>
        <pc:spChg chg="mod">
          <ac:chgData name="Mercado, Andrea Marisol" userId="S::andmercado@deloitte.com::86282f0d-01fd-4acc-9387-9717b48c3e5d" providerId="AD" clId="Web-{047036CE-2E0F-834E-B1DE-981CFE2A90E4}" dt="2024-05-17T18:31:35.463" v="1228" actId="20577"/>
          <ac:spMkLst>
            <pc:docMk/>
            <pc:sldMk cId="3542634899" sldId="508"/>
            <ac:spMk id="4" creationId="{745E9222-1341-AE9E-39D8-5FE3EE642AEE}"/>
          </ac:spMkLst>
        </pc:spChg>
      </pc:sldChg>
      <pc:sldChg chg="modSp new modNotes">
        <pc:chgData name="Mercado, Andrea Marisol" userId="S::andmercado@deloitte.com::86282f0d-01fd-4acc-9387-9717b48c3e5d" providerId="AD" clId="Web-{047036CE-2E0F-834E-B1DE-981CFE2A90E4}" dt="2024-05-17T18:56:57.372" v="1811" actId="20577"/>
        <pc:sldMkLst>
          <pc:docMk/>
          <pc:sldMk cId="3929932632" sldId="509"/>
        </pc:sldMkLst>
        <pc:spChg chg="mod">
          <ac:chgData name="Mercado, Andrea Marisol" userId="S::andmercado@deloitte.com::86282f0d-01fd-4acc-9387-9717b48c3e5d" providerId="AD" clId="Web-{047036CE-2E0F-834E-B1DE-981CFE2A90E4}" dt="2024-05-17T18:56:57.372" v="1811" actId="20577"/>
          <ac:spMkLst>
            <pc:docMk/>
            <pc:sldMk cId="3929932632" sldId="509"/>
            <ac:spMk id="2" creationId="{D58677B1-CC98-EDE7-0313-D2819DE69B3E}"/>
          </ac:spMkLst>
        </pc:spChg>
        <pc:spChg chg="mod">
          <ac:chgData name="Mercado, Andrea Marisol" userId="S::andmercado@deloitte.com::86282f0d-01fd-4acc-9387-9717b48c3e5d" providerId="AD" clId="Web-{047036CE-2E0F-834E-B1DE-981CFE2A90E4}" dt="2024-05-17T18:06:43.308" v="647" actId="20577"/>
          <ac:spMkLst>
            <pc:docMk/>
            <pc:sldMk cId="3929932632" sldId="509"/>
            <ac:spMk id="3" creationId="{79A98F18-0439-0A97-8C56-D0262898FB0E}"/>
          </ac:spMkLst>
        </pc:spChg>
        <pc:spChg chg="mod">
          <ac:chgData name="Mercado, Andrea Marisol" userId="S::andmercado@deloitte.com::86282f0d-01fd-4acc-9387-9717b48c3e5d" providerId="AD" clId="Web-{047036CE-2E0F-834E-B1DE-981CFE2A90E4}" dt="2024-05-17T18:08:26.608" v="752" actId="20577"/>
          <ac:spMkLst>
            <pc:docMk/>
            <pc:sldMk cId="3929932632" sldId="509"/>
            <ac:spMk id="4" creationId="{C98977C1-5106-C65D-6D3A-AB85BF8DEFAD}"/>
          </ac:spMkLst>
        </pc:spChg>
      </pc:sldChg>
      <pc:sldChg chg="addSp delSp modSp new mod modClrScheme chgLayout modNotes">
        <pc:chgData name="Mercado, Andrea Marisol" userId="S::andmercado@deloitte.com::86282f0d-01fd-4acc-9387-9717b48c3e5d" providerId="AD" clId="Web-{047036CE-2E0F-834E-B1DE-981CFE2A90E4}" dt="2024-05-17T19:08:16.050" v="2059"/>
        <pc:sldMkLst>
          <pc:docMk/>
          <pc:sldMk cId="223492080" sldId="510"/>
        </pc:sldMkLst>
        <pc:spChg chg="del mod">
          <ac:chgData name="Mercado, Andrea Marisol" userId="S::andmercado@deloitte.com::86282f0d-01fd-4acc-9387-9717b48c3e5d" providerId="AD" clId="Web-{047036CE-2E0F-834E-B1DE-981CFE2A90E4}" dt="2024-05-17T18:18:42.844" v="1025"/>
          <ac:spMkLst>
            <pc:docMk/>
            <pc:sldMk cId="223492080" sldId="510"/>
            <ac:spMk id="2" creationId="{3773CCA8-7632-1A16-FB34-509D78E72AE7}"/>
          </ac:spMkLst>
        </pc:spChg>
        <pc:spChg chg="mod">
          <ac:chgData name="Mercado, Andrea Marisol" userId="S::andmercado@deloitte.com::86282f0d-01fd-4acc-9387-9717b48c3e5d" providerId="AD" clId="Web-{047036CE-2E0F-834E-B1DE-981CFE2A90E4}" dt="2024-05-17T18:23:31.088" v="1068"/>
          <ac:spMkLst>
            <pc:docMk/>
            <pc:sldMk cId="223492080" sldId="510"/>
            <ac:spMk id="3" creationId="{98D41290-765E-8AD5-9B3F-92217DDF9414}"/>
          </ac:spMkLst>
        </pc:spChg>
        <pc:spChg chg="add del mod">
          <ac:chgData name="Mercado, Andrea Marisol" userId="S::andmercado@deloitte.com::86282f0d-01fd-4acc-9387-9717b48c3e5d" providerId="AD" clId="Web-{047036CE-2E0F-834E-B1DE-981CFE2A90E4}" dt="2024-05-17T18:23:31.088" v="1068"/>
          <ac:spMkLst>
            <pc:docMk/>
            <pc:sldMk cId="223492080" sldId="510"/>
            <ac:spMk id="4" creationId="{2C5A747B-BF1D-AAFC-FD0D-E21F044DD38F}"/>
          </ac:spMkLst>
        </pc:spChg>
        <pc:spChg chg="add del">
          <ac:chgData name="Mercado, Andrea Marisol" userId="S::andmercado@deloitte.com::86282f0d-01fd-4acc-9387-9717b48c3e5d" providerId="AD" clId="Web-{047036CE-2E0F-834E-B1DE-981CFE2A90E4}" dt="2024-05-17T18:20:47.817" v="1051"/>
          <ac:spMkLst>
            <pc:docMk/>
            <pc:sldMk cId="223492080" sldId="510"/>
            <ac:spMk id="7" creationId="{484AAA39-60B9-0A7B-C335-9E592C4B9545}"/>
          </ac:spMkLst>
        </pc:spChg>
        <pc:spChg chg="add del">
          <ac:chgData name="Mercado, Andrea Marisol" userId="S::andmercado@deloitte.com::86282f0d-01fd-4acc-9387-9717b48c3e5d" providerId="AD" clId="Web-{047036CE-2E0F-834E-B1DE-981CFE2A90E4}" dt="2024-05-17T18:21:33.334" v="1053"/>
          <ac:spMkLst>
            <pc:docMk/>
            <pc:sldMk cId="223492080" sldId="510"/>
            <ac:spMk id="9" creationId="{095319AA-D8A1-FD93-74A8-B0CE8E8E501F}"/>
          </ac:spMkLst>
        </pc:spChg>
        <pc:spChg chg="add del mod">
          <ac:chgData name="Mercado, Andrea Marisol" userId="S::andmercado@deloitte.com::86282f0d-01fd-4acc-9387-9717b48c3e5d" providerId="AD" clId="Web-{047036CE-2E0F-834E-B1DE-981CFE2A90E4}" dt="2024-05-17T18:17:34.638" v="1012"/>
          <ac:spMkLst>
            <pc:docMk/>
            <pc:sldMk cId="223492080" sldId="510"/>
            <ac:spMk id="10" creationId="{B5644308-B98F-C8BF-EE51-F6AC68D3CC3C}"/>
          </ac:spMkLst>
        </pc:spChg>
        <pc:spChg chg="add del mod">
          <ac:chgData name="Mercado, Andrea Marisol" userId="S::andmercado@deloitte.com::86282f0d-01fd-4acc-9387-9717b48c3e5d" providerId="AD" clId="Web-{047036CE-2E0F-834E-B1DE-981CFE2A90E4}" dt="2024-05-17T18:17:37.310" v="1014"/>
          <ac:spMkLst>
            <pc:docMk/>
            <pc:sldMk cId="223492080" sldId="510"/>
            <ac:spMk id="12" creationId="{67968D7E-EB3A-A90D-5B51-824DF84B469A}"/>
          </ac:spMkLst>
        </pc:spChg>
        <pc:spChg chg="add del mod">
          <ac:chgData name="Mercado, Andrea Marisol" userId="S::andmercado@deloitte.com::86282f0d-01fd-4acc-9387-9717b48c3e5d" providerId="AD" clId="Web-{047036CE-2E0F-834E-B1DE-981CFE2A90E4}" dt="2024-05-17T18:53:44.772" v="1700"/>
          <ac:spMkLst>
            <pc:docMk/>
            <pc:sldMk cId="223492080" sldId="510"/>
            <ac:spMk id="14" creationId="{DAC37765-5054-1E29-7219-AC4DC5D98626}"/>
          </ac:spMkLst>
        </pc:spChg>
        <pc:graphicFrameChg chg="add del mod">
          <ac:chgData name="Mercado, Andrea Marisol" userId="S::andmercado@deloitte.com::86282f0d-01fd-4acc-9387-9717b48c3e5d" providerId="AD" clId="Web-{047036CE-2E0F-834E-B1DE-981CFE2A90E4}" dt="2024-05-17T18:17:34.638" v="1012"/>
          <ac:graphicFrameMkLst>
            <pc:docMk/>
            <pc:sldMk cId="223492080" sldId="510"/>
            <ac:graphicFrameMk id="6" creationId="{1DB7073C-F7AE-FE70-6A0F-AE26A30F9E50}"/>
          </ac:graphicFrameMkLst>
        </pc:graphicFrameChg>
        <pc:graphicFrameChg chg="add del mod modGraphic">
          <ac:chgData name="Mercado, Andrea Marisol" userId="S::andmercado@deloitte.com::86282f0d-01fd-4acc-9387-9717b48c3e5d" providerId="AD" clId="Web-{047036CE-2E0F-834E-B1DE-981CFE2A90E4}" dt="2024-05-17T18:20:47.817" v="1051"/>
          <ac:graphicFrameMkLst>
            <pc:docMk/>
            <pc:sldMk cId="223492080" sldId="510"/>
            <ac:graphicFrameMk id="8" creationId="{040C47F1-CED3-737E-EDDF-040CDEE72E62}"/>
          </ac:graphicFrameMkLst>
        </pc:graphicFrameChg>
        <pc:graphicFrameChg chg="add del">
          <ac:chgData name="Mercado, Andrea Marisol" userId="S::andmercado@deloitte.com::86282f0d-01fd-4acc-9387-9717b48c3e5d" providerId="AD" clId="Web-{047036CE-2E0F-834E-B1DE-981CFE2A90E4}" dt="2024-05-17T18:21:33.334" v="1053"/>
          <ac:graphicFrameMkLst>
            <pc:docMk/>
            <pc:sldMk cId="223492080" sldId="510"/>
            <ac:graphicFrameMk id="11" creationId="{E8657438-8D31-2705-76E0-8C7F6F87F17B}"/>
          </ac:graphicFrameMkLst>
        </pc:graphicFrameChg>
        <pc:graphicFrameChg chg="add del mod">
          <ac:chgData name="Mercado, Andrea Marisol" userId="S::andmercado@deloitte.com::86282f0d-01fd-4acc-9387-9717b48c3e5d" providerId="AD" clId="Web-{047036CE-2E0F-834E-B1DE-981CFE2A90E4}" dt="2024-05-17T18:17:37.310" v="1014"/>
          <ac:graphicFrameMkLst>
            <pc:docMk/>
            <pc:sldMk cId="223492080" sldId="510"/>
            <ac:graphicFrameMk id="13" creationId="{1A8F0A50-ADE9-58FF-0473-C866ACAE59FE}"/>
          </ac:graphicFrameMkLst>
        </pc:graphicFrameChg>
        <pc:graphicFrameChg chg="add del">
          <ac:chgData name="Mercado, Andrea Marisol" userId="S::andmercado@deloitte.com::86282f0d-01fd-4acc-9387-9717b48c3e5d" providerId="AD" clId="Web-{047036CE-2E0F-834E-B1DE-981CFE2A90E4}" dt="2024-05-17T18:17:52.452" v="1016"/>
          <ac:graphicFrameMkLst>
            <pc:docMk/>
            <pc:sldMk cId="223492080" sldId="510"/>
            <ac:graphicFrameMk id="15" creationId="{7AC8A557-D57E-5233-1859-C26792EC51FD}"/>
          </ac:graphicFrameMkLst>
        </pc:graphicFrameChg>
        <pc:graphicFrameChg chg="add mod">
          <ac:chgData name="Mercado, Andrea Marisol" userId="S::andmercado@deloitte.com::86282f0d-01fd-4acc-9387-9717b48c3e5d" providerId="AD" clId="Web-{047036CE-2E0F-834E-B1DE-981CFE2A90E4}" dt="2024-05-17T18:23:31.088" v="1068"/>
          <ac:graphicFrameMkLst>
            <pc:docMk/>
            <pc:sldMk cId="223492080" sldId="510"/>
            <ac:graphicFrameMk id="16" creationId="{196D1D32-332F-953B-6A67-9C1A24F44C00}"/>
          </ac:graphicFrameMkLst>
        </pc:graphicFrameChg>
      </pc:sldChg>
      <pc:sldChg chg="addSp delSp modSp new ord modNotes">
        <pc:chgData name="Mercado, Andrea Marisol" userId="S::andmercado@deloitte.com::86282f0d-01fd-4acc-9387-9717b48c3e5d" providerId="AD" clId="Web-{047036CE-2E0F-834E-B1DE-981CFE2A90E4}" dt="2024-05-17T19:08:30.753" v="2079"/>
        <pc:sldMkLst>
          <pc:docMk/>
          <pc:sldMk cId="3247095912" sldId="511"/>
        </pc:sldMkLst>
        <pc:spChg chg="del">
          <ac:chgData name="Mercado, Andrea Marisol" userId="S::andmercado@deloitte.com::86282f0d-01fd-4acc-9387-9717b48c3e5d" providerId="AD" clId="Web-{047036CE-2E0F-834E-B1DE-981CFE2A90E4}" dt="2024-05-17T17:52:33.826" v="238"/>
          <ac:spMkLst>
            <pc:docMk/>
            <pc:sldMk cId="3247095912" sldId="511"/>
            <ac:spMk id="2" creationId="{CB7A970E-57BD-CFBD-22CF-F3B2BC063EC5}"/>
          </ac:spMkLst>
        </pc:spChg>
        <pc:spChg chg="mod">
          <ac:chgData name="Mercado, Andrea Marisol" userId="S::andmercado@deloitte.com::86282f0d-01fd-4acc-9387-9717b48c3e5d" providerId="AD" clId="Web-{047036CE-2E0F-834E-B1DE-981CFE2A90E4}" dt="2024-05-17T18:08:41.140" v="766" actId="20577"/>
          <ac:spMkLst>
            <pc:docMk/>
            <pc:sldMk cId="3247095912" sldId="511"/>
            <ac:spMk id="3" creationId="{69DDB646-E00F-AC91-7C56-FF268D1CB9D0}"/>
          </ac:spMkLst>
        </pc:spChg>
        <pc:spChg chg="del mod">
          <ac:chgData name="Mercado, Andrea Marisol" userId="S::andmercado@deloitte.com::86282f0d-01fd-4acc-9387-9717b48c3e5d" providerId="AD" clId="Web-{047036CE-2E0F-834E-B1DE-981CFE2A90E4}" dt="2024-05-17T17:52:33.826" v="238"/>
          <ac:spMkLst>
            <pc:docMk/>
            <pc:sldMk cId="3247095912" sldId="511"/>
            <ac:spMk id="4" creationId="{37148FF9-F701-A19B-4972-EADE35179B2D}"/>
          </ac:spMkLst>
        </pc:spChg>
        <pc:spChg chg="add del">
          <ac:chgData name="Mercado, Andrea Marisol" userId="S::andmercado@deloitte.com::86282f0d-01fd-4acc-9387-9717b48c3e5d" providerId="AD" clId="Web-{047036CE-2E0F-834E-B1DE-981CFE2A90E4}" dt="2024-05-17T17:57:04.101" v="305"/>
          <ac:spMkLst>
            <pc:docMk/>
            <pc:sldMk cId="3247095912" sldId="511"/>
            <ac:spMk id="10" creationId="{BAB9CAD5-2BB3-B8C7-57A7-8FA340DDFB11}"/>
          </ac:spMkLst>
        </pc:spChg>
        <pc:spChg chg="add del">
          <ac:chgData name="Mercado, Andrea Marisol" userId="S::andmercado@deloitte.com::86282f0d-01fd-4acc-9387-9717b48c3e5d" providerId="AD" clId="Web-{047036CE-2E0F-834E-B1DE-981CFE2A90E4}" dt="2024-05-17T17:57:17.054" v="306"/>
          <ac:spMkLst>
            <pc:docMk/>
            <pc:sldMk cId="3247095912" sldId="511"/>
            <ac:spMk id="15" creationId="{E6CE537B-8971-953B-7FE2-5DE38AFE53CD}"/>
          </ac:spMkLst>
        </pc:spChg>
        <pc:graphicFrameChg chg="add mod modGraphic">
          <ac:chgData name="Mercado, Andrea Marisol" userId="S::andmercado@deloitte.com::86282f0d-01fd-4acc-9387-9717b48c3e5d" providerId="AD" clId="Web-{047036CE-2E0F-834E-B1DE-981CFE2A90E4}" dt="2024-05-17T17:57:04.101" v="305"/>
          <ac:graphicFrameMkLst>
            <pc:docMk/>
            <pc:sldMk cId="3247095912" sldId="511"/>
            <ac:graphicFrameMk id="6" creationId="{DF88A53D-2A72-4ABC-E281-9AB22199576F}"/>
          </ac:graphicFrameMkLst>
        </pc:graphicFrameChg>
      </pc:sldChg>
      <pc:sldChg chg="addSp delSp modSp new mod ord modClrScheme chgLayout modNotes">
        <pc:chgData name="Mercado, Andrea Marisol" userId="S::andmercado@deloitte.com::86282f0d-01fd-4acc-9387-9717b48c3e5d" providerId="AD" clId="Web-{047036CE-2E0F-834E-B1DE-981CFE2A90E4}" dt="2024-05-17T19:09:14.786" v="2083"/>
        <pc:sldMkLst>
          <pc:docMk/>
          <pc:sldMk cId="1084607133" sldId="512"/>
        </pc:sldMkLst>
        <pc:spChg chg="del">
          <ac:chgData name="Mercado, Andrea Marisol" userId="S::andmercado@deloitte.com::86282f0d-01fd-4acc-9387-9717b48c3e5d" providerId="AD" clId="Web-{047036CE-2E0F-834E-B1DE-981CFE2A90E4}" dt="2024-05-17T17:55:02.315" v="288"/>
          <ac:spMkLst>
            <pc:docMk/>
            <pc:sldMk cId="1084607133" sldId="512"/>
            <ac:spMk id="2" creationId="{849F4051-AE00-8F04-B6E2-6DEDDD5C9C63}"/>
          </ac:spMkLst>
        </pc:spChg>
        <pc:spChg chg="mod">
          <ac:chgData name="Mercado, Andrea Marisol" userId="S::andmercado@deloitte.com::86282f0d-01fd-4acc-9387-9717b48c3e5d" providerId="AD" clId="Web-{047036CE-2E0F-834E-B1DE-981CFE2A90E4}" dt="2024-05-17T18:00:27.514" v="373"/>
          <ac:spMkLst>
            <pc:docMk/>
            <pc:sldMk cId="1084607133" sldId="512"/>
            <ac:spMk id="3" creationId="{46AC1BB3-89CE-77AA-15EF-66231B03969A}"/>
          </ac:spMkLst>
        </pc:spChg>
        <pc:spChg chg="del mod">
          <ac:chgData name="Mercado, Andrea Marisol" userId="S::andmercado@deloitte.com::86282f0d-01fd-4acc-9387-9717b48c3e5d" providerId="AD" clId="Web-{047036CE-2E0F-834E-B1DE-981CFE2A90E4}" dt="2024-05-17T17:55:02.315" v="288"/>
          <ac:spMkLst>
            <pc:docMk/>
            <pc:sldMk cId="1084607133" sldId="512"/>
            <ac:spMk id="4" creationId="{1B6D2A2A-CD27-0E8B-43BD-F3EDF6AF8D45}"/>
          </ac:spMkLst>
        </pc:spChg>
        <pc:spChg chg="add del mod">
          <ac:chgData name="Mercado, Andrea Marisol" userId="S::andmercado@deloitte.com::86282f0d-01fd-4acc-9387-9717b48c3e5d" providerId="AD" clId="Web-{047036CE-2E0F-834E-B1DE-981CFE2A90E4}" dt="2024-05-17T18:00:27.514" v="373"/>
          <ac:spMkLst>
            <pc:docMk/>
            <pc:sldMk cId="1084607133" sldId="512"/>
            <ac:spMk id="8" creationId="{51322F24-CF33-6CBC-0DDB-AA731513C69A}"/>
          </ac:spMkLst>
        </pc:spChg>
        <pc:spChg chg="add del">
          <ac:chgData name="Mercado, Andrea Marisol" userId="S::andmercado@deloitte.com::86282f0d-01fd-4acc-9387-9717b48c3e5d" providerId="AD" clId="Web-{047036CE-2E0F-834E-B1DE-981CFE2A90E4}" dt="2024-05-17T17:56:52.616" v="304"/>
          <ac:spMkLst>
            <pc:docMk/>
            <pc:sldMk cId="1084607133" sldId="512"/>
            <ac:spMk id="10" creationId="{E9602859-2FAD-7474-1169-E92F1E1360F9}"/>
          </ac:spMkLst>
        </pc:spChg>
        <pc:spChg chg="add del mod">
          <ac:chgData name="Mercado, Andrea Marisol" userId="S::andmercado@deloitte.com::86282f0d-01fd-4acc-9387-9717b48c3e5d" providerId="AD" clId="Web-{047036CE-2E0F-834E-B1DE-981CFE2A90E4}" dt="2024-05-17T17:58:17.119" v="314"/>
          <ac:spMkLst>
            <pc:docMk/>
            <pc:sldMk cId="1084607133" sldId="512"/>
            <ac:spMk id="11" creationId="{955B4EC1-728C-D5F8-9E8E-14788B664FA1}"/>
          </ac:spMkLst>
        </pc:spChg>
        <pc:spChg chg="add del mod">
          <ac:chgData name="Mercado, Andrea Marisol" userId="S::andmercado@deloitte.com::86282f0d-01fd-4acc-9387-9717b48c3e5d" providerId="AD" clId="Web-{047036CE-2E0F-834E-B1DE-981CFE2A90E4}" dt="2024-05-17T18:00:27.514" v="373"/>
          <ac:spMkLst>
            <pc:docMk/>
            <pc:sldMk cId="1084607133" sldId="512"/>
            <ac:spMk id="13" creationId="{B5C98AF6-3E71-7C9C-5919-A82EEBA6602B}"/>
          </ac:spMkLst>
        </pc:spChg>
        <pc:spChg chg="add del">
          <ac:chgData name="Mercado, Andrea Marisol" userId="S::andmercado@deloitte.com::86282f0d-01fd-4acc-9387-9717b48c3e5d" providerId="AD" clId="Web-{047036CE-2E0F-834E-B1DE-981CFE2A90E4}" dt="2024-05-17T17:58:31.682" v="319"/>
          <ac:spMkLst>
            <pc:docMk/>
            <pc:sldMk cId="1084607133" sldId="512"/>
            <ac:spMk id="16" creationId="{30629BDE-3A80-C0E9-E46A-3E85612742F3}"/>
          </ac:spMkLst>
        </pc:spChg>
        <pc:graphicFrameChg chg="add mod modGraphic">
          <ac:chgData name="Mercado, Andrea Marisol" userId="S::andmercado@deloitte.com::86282f0d-01fd-4acc-9387-9717b48c3e5d" providerId="AD" clId="Web-{047036CE-2E0F-834E-B1DE-981CFE2A90E4}" dt="2024-05-17T18:00:27.514" v="373"/>
          <ac:graphicFrameMkLst>
            <pc:docMk/>
            <pc:sldMk cId="1084607133" sldId="512"/>
            <ac:graphicFrameMk id="6" creationId="{338CEEAB-B2A1-E2C2-535A-E021EB178F25}"/>
          </ac:graphicFrameMkLst>
        </pc:graphicFrameChg>
      </pc:sldChg>
      <pc:sldChg chg="addSp delSp modSp new ord modNotes">
        <pc:chgData name="Mercado, Andrea Marisol" userId="S::andmercado@deloitte.com::86282f0d-01fd-4acc-9387-9717b48c3e5d" providerId="AD" clId="Web-{047036CE-2E0F-834E-B1DE-981CFE2A90E4}" dt="2024-05-17T19:10:05.053" v="2124"/>
        <pc:sldMkLst>
          <pc:docMk/>
          <pc:sldMk cId="2570224678" sldId="513"/>
        </pc:sldMkLst>
        <pc:spChg chg="del">
          <ac:chgData name="Mercado, Andrea Marisol" userId="S::andmercado@deloitte.com::86282f0d-01fd-4acc-9387-9717b48c3e5d" providerId="AD" clId="Web-{047036CE-2E0F-834E-B1DE-981CFE2A90E4}" dt="2024-05-17T17:59:53.028" v="368"/>
          <ac:spMkLst>
            <pc:docMk/>
            <pc:sldMk cId="2570224678" sldId="513"/>
            <ac:spMk id="2" creationId="{E5EEE342-31FA-EB8F-4F2D-F0420317469C}"/>
          </ac:spMkLst>
        </pc:spChg>
        <pc:spChg chg="mod">
          <ac:chgData name="Mercado, Andrea Marisol" userId="S::andmercado@deloitte.com::86282f0d-01fd-4acc-9387-9717b48c3e5d" providerId="AD" clId="Web-{047036CE-2E0F-834E-B1DE-981CFE2A90E4}" dt="2024-05-17T18:11:14.860" v="793" actId="20577"/>
          <ac:spMkLst>
            <pc:docMk/>
            <pc:sldMk cId="2570224678" sldId="513"/>
            <ac:spMk id="3" creationId="{888DDC04-4BDA-C96D-7BAD-525B41118022}"/>
          </ac:spMkLst>
        </pc:spChg>
        <pc:spChg chg="del mod">
          <ac:chgData name="Mercado, Andrea Marisol" userId="S::andmercado@deloitte.com::86282f0d-01fd-4acc-9387-9717b48c3e5d" providerId="AD" clId="Web-{047036CE-2E0F-834E-B1DE-981CFE2A90E4}" dt="2024-05-17T17:59:53.028" v="368"/>
          <ac:spMkLst>
            <pc:docMk/>
            <pc:sldMk cId="2570224678" sldId="513"/>
            <ac:spMk id="4" creationId="{F20201C0-890F-D189-C3AA-8D4FE14FCE3C}"/>
          </ac:spMkLst>
        </pc:spChg>
        <pc:spChg chg="add del">
          <ac:chgData name="Mercado, Andrea Marisol" userId="S::andmercado@deloitte.com::86282f0d-01fd-4acc-9387-9717b48c3e5d" providerId="AD" clId="Web-{047036CE-2E0F-834E-B1DE-981CFE2A90E4}" dt="2024-05-17T17:59:58.372" v="369"/>
          <ac:spMkLst>
            <pc:docMk/>
            <pc:sldMk cId="2570224678" sldId="513"/>
            <ac:spMk id="10" creationId="{FA976624-C445-12B1-02ED-9DECEAD19B80}"/>
          </ac:spMkLst>
        </pc:spChg>
        <pc:spChg chg="add del">
          <ac:chgData name="Mercado, Andrea Marisol" userId="S::andmercado@deloitte.com::86282f0d-01fd-4acc-9387-9717b48c3e5d" providerId="AD" clId="Web-{047036CE-2E0F-834E-B1DE-981CFE2A90E4}" dt="2024-05-17T18:00:08.388" v="371"/>
          <ac:spMkLst>
            <pc:docMk/>
            <pc:sldMk cId="2570224678" sldId="513"/>
            <ac:spMk id="11" creationId="{905907A3-913B-E483-560C-DF0DC28E852C}"/>
          </ac:spMkLst>
        </pc:spChg>
        <pc:graphicFrameChg chg="add mod modGraphic">
          <ac:chgData name="Mercado, Andrea Marisol" userId="S::andmercado@deloitte.com::86282f0d-01fd-4acc-9387-9717b48c3e5d" providerId="AD" clId="Web-{047036CE-2E0F-834E-B1DE-981CFE2A90E4}" dt="2024-05-17T18:00:03.372" v="370"/>
          <ac:graphicFrameMkLst>
            <pc:docMk/>
            <pc:sldMk cId="2570224678" sldId="513"/>
            <ac:graphicFrameMk id="6" creationId="{36DD22AA-2976-01F3-38C1-6A8D4FAF607B}"/>
          </ac:graphicFrameMkLst>
        </pc:graphicFrameChg>
      </pc:sldChg>
      <pc:sldChg chg="modSp new">
        <pc:chgData name="Mercado, Andrea Marisol" userId="S::andmercado@deloitte.com::86282f0d-01fd-4acc-9387-9717b48c3e5d" providerId="AD" clId="Web-{047036CE-2E0F-834E-B1DE-981CFE2A90E4}" dt="2024-05-17T18:53:40.444" v="1699" actId="20577"/>
        <pc:sldMkLst>
          <pc:docMk/>
          <pc:sldMk cId="1812200624" sldId="514"/>
        </pc:sldMkLst>
        <pc:spChg chg="mod">
          <ac:chgData name="Mercado, Andrea Marisol" userId="S::andmercado@deloitte.com::86282f0d-01fd-4acc-9387-9717b48c3e5d" providerId="AD" clId="Web-{047036CE-2E0F-834E-B1DE-981CFE2A90E4}" dt="2024-05-17T18:53:40.444" v="1699" actId="20577"/>
          <ac:spMkLst>
            <pc:docMk/>
            <pc:sldMk cId="1812200624" sldId="514"/>
            <ac:spMk id="2" creationId="{E06938C2-697B-AAA7-2556-C7BA038C1EE7}"/>
          </ac:spMkLst>
        </pc:spChg>
        <pc:spChg chg="mod">
          <ac:chgData name="Mercado, Andrea Marisol" userId="S::andmercado@deloitte.com::86282f0d-01fd-4acc-9387-9717b48c3e5d" providerId="AD" clId="Web-{047036CE-2E0F-834E-B1DE-981CFE2A90E4}" dt="2024-05-17T18:02:54.175" v="454" actId="20577"/>
          <ac:spMkLst>
            <pc:docMk/>
            <pc:sldMk cId="1812200624" sldId="514"/>
            <ac:spMk id="3" creationId="{76B87C1C-7A2A-8DD7-E05B-F0FA0380D0B3}"/>
          </ac:spMkLst>
        </pc:spChg>
      </pc:sldChg>
      <pc:sldChg chg="modSp new del">
        <pc:chgData name="Mercado, Andrea Marisol" userId="S::andmercado@deloitte.com::86282f0d-01fd-4acc-9387-9717b48c3e5d" providerId="AD" clId="Web-{047036CE-2E0F-834E-B1DE-981CFE2A90E4}" dt="2024-05-17T18:26:59.548" v="1073"/>
        <pc:sldMkLst>
          <pc:docMk/>
          <pc:sldMk cId="1519302552" sldId="515"/>
        </pc:sldMkLst>
        <pc:spChg chg="mod">
          <ac:chgData name="Mercado, Andrea Marisol" userId="S::andmercado@deloitte.com::86282f0d-01fd-4acc-9387-9717b48c3e5d" providerId="AD" clId="Web-{047036CE-2E0F-834E-B1DE-981CFE2A90E4}" dt="2024-05-17T18:26:42.844" v="1072" actId="20577"/>
          <ac:spMkLst>
            <pc:docMk/>
            <pc:sldMk cId="1519302552" sldId="515"/>
            <ac:spMk id="2" creationId="{13AA61E4-CACE-2EC3-FCA6-AF3FDEC08E64}"/>
          </ac:spMkLst>
        </pc:spChg>
      </pc:sldChg>
      <pc:sldChg chg="modSp new ord">
        <pc:chgData name="Mercado, Andrea Marisol" userId="S::andmercado@deloitte.com::86282f0d-01fd-4acc-9387-9717b48c3e5d" providerId="AD" clId="Web-{047036CE-2E0F-834E-B1DE-981CFE2A90E4}" dt="2024-05-17T20:07:46.230" v="2201" actId="20577"/>
        <pc:sldMkLst>
          <pc:docMk/>
          <pc:sldMk cId="3898992021" sldId="515"/>
        </pc:sldMkLst>
        <pc:spChg chg="mod">
          <ac:chgData name="Mercado, Andrea Marisol" userId="S::andmercado@deloitte.com::86282f0d-01fd-4acc-9387-9717b48c3e5d" providerId="AD" clId="Web-{047036CE-2E0F-834E-B1DE-981CFE2A90E4}" dt="2024-05-17T20:07:46.230" v="2201" actId="20577"/>
          <ac:spMkLst>
            <pc:docMk/>
            <pc:sldMk cId="3898992021" sldId="515"/>
            <ac:spMk id="3" creationId="{D8E72129-1A5E-C5FC-BA8A-BF9B37DA217F}"/>
          </ac:spMkLst>
        </pc:spChg>
        <pc:spChg chg="mod">
          <ac:chgData name="Mercado, Andrea Marisol" userId="S::andmercado@deloitte.com::86282f0d-01fd-4acc-9387-9717b48c3e5d" providerId="AD" clId="Web-{047036CE-2E0F-834E-B1DE-981CFE2A90E4}" dt="2024-05-17T18:34:59.892" v="1531" actId="20577"/>
          <ac:spMkLst>
            <pc:docMk/>
            <pc:sldMk cId="3898992021" sldId="515"/>
            <ac:spMk id="4" creationId="{7161CCA6-2575-2CA7-0075-E816E69F4266}"/>
          </ac:spMkLst>
        </pc:spChg>
      </pc:sldChg>
      <pc:sldChg chg="delSp modSp new ord">
        <pc:chgData name="Mercado, Andrea Marisol" userId="S::andmercado@deloitte.com::86282f0d-01fd-4acc-9387-9717b48c3e5d" providerId="AD" clId="Web-{047036CE-2E0F-834E-B1DE-981CFE2A90E4}" dt="2024-05-17T20:08:29.153" v="2230" actId="14100"/>
        <pc:sldMkLst>
          <pc:docMk/>
          <pc:sldMk cId="1872132277" sldId="516"/>
        </pc:sldMkLst>
        <pc:spChg chg="del mod">
          <ac:chgData name="Mercado, Andrea Marisol" userId="S::andmercado@deloitte.com::86282f0d-01fd-4acc-9387-9717b48c3e5d" providerId="AD" clId="Web-{047036CE-2E0F-834E-B1DE-981CFE2A90E4}" dt="2024-05-17T20:08:23.872" v="2229"/>
          <ac:spMkLst>
            <pc:docMk/>
            <pc:sldMk cId="1872132277" sldId="516"/>
            <ac:spMk id="2" creationId="{6D977DA4-D42A-2A41-B733-7C044981F319}"/>
          </ac:spMkLst>
        </pc:spChg>
        <pc:spChg chg="mod">
          <ac:chgData name="Mercado, Andrea Marisol" userId="S::andmercado@deloitte.com::86282f0d-01fd-4acc-9387-9717b48c3e5d" providerId="AD" clId="Web-{047036CE-2E0F-834E-B1DE-981CFE2A90E4}" dt="2024-05-17T20:08:29.153" v="2230" actId="14100"/>
          <ac:spMkLst>
            <pc:docMk/>
            <pc:sldMk cId="1872132277" sldId="516"/>
            <ac:spMk id="3" creationId="{925CA560-895F-3D12-CBFC-1A6120DC3511}"/>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ata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5C243802-4E46-4111-9B40-34B78BF46E0F}">
      <dgm:prSet/>
      <dgm:spPr/>
      <dgm:t>
        <a:bodyPr/>
        <a:lstStyle/>
        <a:p>
          <a:pPr>
            <a:lnSpc>
              <a:spcPct val="100000"/>
            </a:lnSpc>
            <a:defRPr b="1"/>
          </a:pPr>
          <a:r>
            <a:rPr lang="en-US" b="0" dirty="0">
              <a:latin typeface="Calibri Light"/>
              <a:cs typeface="Calibri Light"/>
            </a:rPr>
            <a:t>Customer Churn</a:t>
          </a:r>
          <a:endParaRPr lang="en-US" dirty="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2CEA10B-CE52-4F2E-BAB3-6DC1C31A5367}">
      <dgm:prSet/>
      <dgm:spPr/>
      <dgm:t>
        <a:bodyPr/>
        <a:lstStyle/>
        <a:p>
          <a:pPr>
            <a:lnSpc>
              <a:spcPct val="100000"/>
            </a:lnSpc>
            <a:defRPr b="1"/>
          </a:pPr>
          <a:r>
            <a:rPr lang="en-US" b="0">
              <a:latin typeface="Calibri Light"/>
              <a:cs typeface="Calibri Light"/>
            </a:rPr>
            <a:t>Predictive Modeling</a:t>
          </a:r>
          <a:endParaRPr lang="en-US" dirty="0">
            <a:latin typeface="Calibri Light"/>
            <a:cs typeface="Calibri Light"/>
          </a:endParaRPr>
        </a:p>
      </dgm:t>
    </dgm:pt>
    <dgm:pt modelId="{2EF531D4-6466-4B5C-B58C-B81DE86569BF}" type="parTrans" cxnId="{AFEE899F-33B6-49B7-ADFE-D744EC4B17FA}">
      <dgm:prSet/>
      <dgm:spPr/>
      <dgm:t>
        <a:bodyPr/>
        <a:lstStyle/>
        <a:p>
          <a:endParaRPr lang="en-US"/>
        </a:p>
      </dgm:t>
    </dgm:pt>
    <dgm:pt modelId="{F3AC664B-6188-4E50-9954-4B5083CC89C5}" type="sibTrans" cxnId="{AFEE899F-33B6-49B7-ADFE-D744EC4B17FA}">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Impact on Business</a:t>
          </a:r>
          <a:endParaRPr lang="en-US" b="0" dirty="0">
            <a:latin typeface="Calibri Light"/>
            <a:cs typeface="Calibri Light"/>
          </a:endParaRPr>
        </a:p>
      </dgm:t>
    </dgm:pt>
    <dgm:pt modelId="{9F89D9F2-79CA-450B-93CE-8D8FE963F4FD}" type="parTrans" cxnId="{00EB7C7D-87AF-4D2F-9899-549100A90191}">
      <dgm:prSet/>
      <dgm:spPr/>
      <dgm:t>
        <a:bodyPr/>
        <a:lstStyle/>
        <a:p>
          <a:endParaRPr lang="en-US"/>
        </a:p>
      </dgm:t>
    </dgm:pt>
    <dgm:pt modelId="{F891CF6F-F55B-4680-86C4-6F776338A5D3}" type="sibTrans" cxnId="{00EB7C7D-87AF-4D2F-9899-549100A90191}">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A significant hurdle in the credit card industry.</a:t>
          </a:r>
          <a:endParaRPr lang="en-US" b="0" dirty="0">
            <a:latin typeface="Calibri Light"/>
            <a:cs typeface="Calibri Light"/>
          </a:endParaRPr>
        </a:p>
      </dgm:t>
    </dgm:pt>
    <dgm:pt modelId="{EB161116-C306-4004-BF9A-030DCDC11151}" type="parTrans" cxnId="{20652A34-D14E-408B-A5BC-66D34E5608AA}">
      <dgm:prSet/>
      <dgm:spPr/>
      <dgm:t>
        <a:bodyPr/>
        <a:lstStyle/>
        <a:p>
          <a:endParaRPr lang="en-US"/>
        </a:p>
      </dgm:t>
    </dgm:pt>
    <dgm:pt modelId="{FBB8E879-488D-4D43-9B37-3AC57E4155F9}" type="sibTrans" cxnId="{20652A34-D14E-408B-A5BC-66D34E5608AA}">
      <dgm:prSet/>
      <dgm:spPr/>
      <dgm:t>
        <a:bodyPr/>
        <a:lstStyle/>
        <a:p>
          <a:endParaRPr lang="en-US"/>
        </a:p>
      </dgm:t>
    </dgm:pt>
    <dgm:pt modelId="{3836B989-06CE-4E9B-9F18-08ED360AAB5F}">
      <dgm:prSet phldr="0"/>
      <dgm:spPr/>
      <dgm:t>
        <a:bodyPr/>
        <a:lstStyle/>
        <a:p>
          <a:pPr>
            <a:lnSpc>
              <a:spcPct val="100000"/>
            </a:lnSpc>
          </a:pPr>
          <a:r>
            <a:rPr lang="en-US" b="0" dirty="0">
              <a:latin typeface="Calibri Light"/>
              <a:cs typeface="Arial"/>
            </a:rPr>
            <a:t> - High churn rates can negatively affect customer loyalty, brand reputation, and long-term revenue growth.</a:t>
          </a:r>
          <a:endParaRPr lang="en-US" dirty="0">
            <a:latin typeface="Calibri Light"/>
            <a:cs typeface="Calibri Light"/>
          </a:endParaRPr>
        </a:p>
      </dgm:t>
    </dgm:pt>
    <dgm:pt modelId="{C4E840A5-3E5D-480D-8515-0A9FA359ED11}" type="parTrans" cxnId="{9C19384B-7F1B-4A3F-82B1-1DD49C44E3CA}">
      <dgm:prSet/>
      <dgm:spPr/>
      <dgm:t>
        <a:bodyPr/>
        <a:lstStyle/>
        <a:p>
          <a:endParaRPr lang="en-US"/>
        </a:p>
      </dgm:t>
    </dgm:pt>
    <dgm:pt modelId="{EE3CF1A0-B6D3-45FB-9ADC-B29E9F2813E2}" type="sibTrans" cxnId="{9C19384B-7F1B-4A3F-82B1-1DD49C44E3CA}">
      <dgm:prSet/>
      <dgm:spPr/>
      <dgm:t>
        <a:bodyPr/>
        <a:lstStyle/>
        <a:p>
          <a:endParaRPr lang="en-US"/>
        </a:p>
      </dgm:t>
    </dgm:pt>
    <dgm:pt modelId="{D969BD6B-986F-4289-8E1B-688F357D84B2}">
      <dgm:prSet phldr="0"/>
      <dgm:spPr/>
      <dgm:t>
        <a:bodyPr/>
        <a:lstStyle/>
        <a:p>
          <a:pPr>
            <a:lnSpc>
              <a:spcPct val="100000"/>
            </a:lnSpc>
          </a:pPr>
          <a:r>
            <a:rPr lang="en-US" dirty="0">
              <a:latin typeface="Calibri Light"/>
              <a:cs typeface="Calibri Light"/>
            </a:rPr>
            <a:t> </a:t>
          </a:r>
          <a:r>
            <a:rPr lang="en-US" dirty="0">
              <a:solidFill>
                <a:srgbClr val="000000"/>
              </a:solidFill>
              <a:latin typeface="Calibri Light"/>
              <a:ea typeface="open sans"/>
              <a:cs typeface="Calibri Light"/>
            </a:rPr>
            <a:t>- Adopting</a:t>
          </a:r>
          <a:r>
            <a:rPr lang="en-US" b="0" dirty="0">
              <a:solidFill>
                <a:srgbClr val="000000"/>
              </a:solidFill>
              <a:latin typeface="Calibri Light"/>
              <a:ea typeface="open sans"/>
              <a:cs typeface="Calibri Light"/>
            </a:rPr>
            <a:t> predictive modeling is necessary to refine and enhance our approach to better address the challenge.</a:t>
          </a:r>
          <a:r>
            <a:rPr lang="en-US" b="0" dirty="0">
              <a:solidFill>
                <a:srgbClr val="000000"/>
              </a:solidFill>
              <a:latin typeface="Calibri Light"/>
              <a:ea typeface="open sans"/>
              <a:cs typeface="Arial"/>
            </a:rPr>
            <a:t> </a:t>
          </a:r>
          <a:endParaRPr lang="en-US" b="1" dirty="0">
            <a:solidFill>
              <a:srgbClr val="000000"/>
            </a:solidFill>
            <a:latin typeface="open sans"/>
            <a:ea typeface="open sans"/>
            <a:cs typeface="open sans"/>
          </a:endParaRPr>
        </a:p>
      </dgm:t>
    </dgm:pt>
    <dgm:pt modelId="{E8B8EBAF-F0A6-4461-887F-00EC74D82650}" type="parTrans" cxnId="{EF1A703C-2990-4BA7-94EA-5194139E5F41}">
      <dgm:prSet/>
      <dgm:spPr/>
      <dgm:t>
        <a:bodyPr/>
        <a:lstStyle/>
        <a:p>
          <a:endParaRPr lang="en-US"/>
        </a:p>
      </dgm:t>
    </dgm:pt>
    <dgm:pt modelId="{D7BB3363-7326-445F-B4BE-353E326A1160}" type="sibTrans" cxnId="{EF1A703C-2990-4BA7-94EA-5194139E5F41}">
      <dgm:prSet/>
      <dgm:spPr/>
      <dgm:t>
        <a:bodyPr/>
        <a:lstStyle/>
        <a:p>
          <a:endParaRPr lang="en-US"/>
        </a:p>
      </dgm:t>
    </dgm:pt>
    <dgm:pt modelId="{0E8D216E-536B-42A4-A096-6D7E7A16965B}">
      <dgm:prSet phldr="0"/>
      <dgm:spPr/>
      <dgm:t>
        <a:bodyPr/>
        <a:lstStyle/>
        <a:p>
          <a:pPr>
            <a:lnSpc>
              <a:spcPct val="100000"/>
            </a:lnSpc>
          </a:pPr>
          <a:endParaRPr lang="en-US" dirty="0">
            <a:cs typeface="Arial"/>
          </a:endParaRPr>
        </a:p>
      </dgm:t>
    </dgm:pt>
    <dgm:pt modelId="{A2D1C2A1-C4D2-48BB-BDE2-2996808CE7FA}" type="parTrans" cxnId="{99E270BF-B716-48D8-8E18-F8C194FBB814}">
      <dgm:prSet/>
      <dgm:spPr/>
      <dgm:t>
        <a:bodyPr/>
        <a:lstStyle/>
        <a:p>
          <a:endParaRPr lang="en-US"/>
        </a:p>
      </dgm:t>
    </dgm:pt>
    <dgm:pt modelId="{5B845EF9-4F2A-452B-9A87-C104A1E954DC}" type="sibTrans" cxnId="{99E270BF-B716-48D8-8E18-F8C194FBB814}">
      <dgm:prSet/>
      <dgm:spPr/>
      <dgm:t>
        <a:bodyPr/>
        <a:lstStyle/>
        <a:p>
          <a:endParaRPr lang="en-US"/>
        </a:p>
      </dgm:t>
    </dgm:pt>
    <dgm:pt modelId="{DFD69C58-00D1-4335-8C44-BE3F9802F0E2}" type="pres">
      <dgm:prSet presAssocID="{9EC21C40-C7FA-45BB-B66B-5DCFCBF104D0}" presName="root" presStyleCnt="0">
        <dgm:presLayoutVars>
          <dgm:dir/>
          <dgm:resizeHandles val="exact"/>
        </dgm:presLayoutVars>
      </dgm:prSet>
      <dgm:spPr/>
    </dgm:pt>
    <dgm:pt modelId="{A452B909-E1F0-4149-8749-2462BD324B7D}" type="pres">
      <dgm:prSet presAssocID="{5C243802-4E46-4111-9B40-34B78BF46E0F}" presName="compNode" presStyleCnt="0"/>
      <dgm:spPr/>
    </dgm:pt>
    <dgm:pt modelId="{AAAC2D3C-6D64-4855-97DF-15E34B407443}" type="pres">
      <dgm:prSet presAssocID="{5C243802-4E46-4111-9B40-34B78BF46E0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redit card"/>
        </a:ext>
      </dgm:extLst>
    </dgm:pt>
    <dgm:pt modelId="{76767147-6431-4960-9FE9-9EFF1F1DBA64}" type="pres">
      <dgm:prSet presAssocID="{5C243802-4E46-4111-9B40-34B78BF46E0F}" presName="iconSpace" presStyleCnt="0"/>
      <dgm:spPr/>
    </dgm:pt>
    <dgm:pt modelId="{FB47C061-7660-4258-A386-26C2D47BF0E5}" type="pres">
      <dgm:prSet presAssocID="{5C243802-4E46-4111-9B40-34B78BF46E0F}" presName="parTx" presStyleLbl="revTx" presStyleIdx="0" presStyleCnt="6">
        <dgm:presLayoutVars>
          <dgm:chMax val="0"/>
          <dgm:chPref val="0"/>
        </dgm:presLayoutVars>
      </dgm:prSet>
      <dgm:spPr/>
    </dgm:pt>
    <dgm:pt modelId="{E2202C58-7DE5-4822-BEF3-4005A8BAA896}" type="pres">
      <dgm:prSet presAssocID="{5C243802-4E46-4111-9B40-34B78BF46E0F}" presName="txSpace" presStyleCnt="0"/>
      <dgm:spPr/>
    </dgm:pt>
    <dgm:pt modelId="{B27C2446-D161-4B06-A46F-2E309FCD9D6D}" type="pres">
      <dgm:prSet presAssocID="{5C243802-4E46-4111-9B40-34B78BF46E0F}" presName="desTx" presStyleLbl="revTx" presStyleIdx="1" presStyleCnt="6">
        <dgm:presLayoutVars/>
      </dgm:prSet>
      <dgm:spPr/>
    </dgm:pt>
    <dgm:pt modelId="{638E942F-2690-49D3-AB03-EFA2F49057B9}" type="pres">
      <dgm:prSet presAssocID="{C86E5EAC-1340-4B41-A6B6-17527C1CAB29}" presName="sibTrans" presStyleCnt="0"/>
      <dgm:spPr/>
    </dgm:pt>
    <dgm:pt modelId="{9A00E4D4-B39C-4175-8007-69EAC21A6DEB}" type="pres">
      <dgm:prSet presAssocID="{C6E1C449-659C-4806-80E7-D8D256FA7C8A}" presName="compNode" presStyleCnt="0"/>
      <dgm:spPr/>
    </dgm:pt>
    <dgm:pt modelId="{48CD9C2B-7E0F-4D74-8864-2E5947D68815}" type="pres">
      <dgm:prSet presAssocID="{C6E1C449-659C-4806-80E7-D8D256FA7C8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ze"/>
        </a:ext>
      </dgm:extLst>
    </dgm:pt>
    <dgm:pt modelId="{A3BAAA33-1205-4729-8062-A9167F06B957}" type="pres">
      <dgm:prSet presAssocID="{C6E1C449-659C-4806-80E7-D8D256FA7C8A}" presName="iconSpace" presStyleCnt="0"/>
      <dgm:spPr/>
    </dgm:pt>
    <dgm:pt modelId="{645EA6F2-0647-4FD0-BF9C-D23D12ED8C92}" type="pres">
      <dgm:prSet presAssocID="{C6E1C449-659C-4806-80E7-D8D256FA7C8A}" presName="parTx" presStyleLbl="revTx" presStyleIdx="2" presStyleCnt="6">
        <dgm:presLayoutVars>
          <dgm:chMax val="0"/>
          <dgm:chPref val="0"/>
        </dgm:presLayoutVars>
      </dgm:prSet>
      <dgm:spPr/>
    </dgm:pt>
    <dgm:pt modelId="{22C47F23-36B2-455D-A9B6-BE8945CCCE57}" type="pres">
      <dgm:prSet presAssocID="{C6E1C449-659C-4806-80E7-D8D256FA7C8A}" presName="txSpace" presStyleCnt="0"/>
      <dgm:spPr/>
    </dgm:pt>
    <dgm:pt modelId="{5BB1557D-9BBB-4713-864E-D8C2346A08B4}" type="pres">
      <dgm:prSet presAssocID="{C6E1C449-659C-4806-80E7-D8D256FA7C8A}" presName="desTx" presStyleLbl="revTx" presStyleIdx="3" presStyleCnt="6">
        <dgm:presLayoutVars/>
      </dgm:prSet>
      <dgm:spPr/>
    </dgm:pt>
    <dgm:pt modelId="{897FFA00-923C-4D9A-B10D-B0180065C56E}" type="pres">
      <dgm:prSet presAssocID="{F891CF6F-F55B-4680-86C4-6F776338A5D3}" presName="sibTrans" presStyleCnt="0"/>
      <dgm:spPr/>
    </dgm:pt>
    <dgm:pt modelId="{EFBF98E5-6784-4305-846D-402DF59DAB6A}" type="pres">
      <dgm:prSet presAssocID="{32CEA10B-CE52-4F2E-BAB3-6DC1C31A5367}" presName="compNode" presStyleCnt="0"/>
      <dgm:spPr/>
    </dgm:pt>
    <dgm:pt modelId="{4904ED1F-9F59-47F4-9798-B81874B1E50F}" type="pres">
      <dgm:prSet presAssocID="{32CEA10B-CE52-4F2E-BAB3-6DC1C31A536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wnward trend"/>
        </a:ext>
      </dgm:extLst>
    </dgm:pt>
    <dgm:pt modelId="{0BF5E77A-E0B1-429D-BFCE-4B2273CEF402}" type="pres">
      <dgm:prSet presAssocID="{32CEA10B-CE52-4F2E-BAB3-6DC1C31A5367}" presName="iconSpace" presStyleCnt="0"/>
      <dgm:spPr/>
    </dgm:pt>
    <dgm:pt modelId="{A15FDB27-8C17-4198-B85E-07149E1148B0}" type="pres">
      <dgm:prSet presAssocID="{32CEA10B-CE52-4F2E-BAB3-6DC1C31A5367}" presName="parTx" presStyleLbl="revTx" presStyleIdx="4" presStyleCnt="6">
        <dgm:presLayoutVars>
          <dgm:chMax val="0"/>
          <dgm:chPref val="0"/>
        </dgm:presLayoutVars>
      </dgm:prSet>
      <dgm:spPr/>
    </dgm:pt>
    <dgm:pt modelId="{DA065FEA-7B3A-4B6E-B604-F74AE2C1B5DC}" type="pres">
      <dgm:prSet presAssocID="{32CEA10B-CE52-4F2E-BAB3-6DC1C31A5367}" presName="txSpace" presStyleCnt="0"/>
      <dgm:spPr/>
    </dgm:pt>
    <dgm:pt modelId="{CE945595-8868-44D0-84F9-6D754AB33CBB}" type="pres">
      <dgm:prSet presAssocID="{32CEA10B-CE52-4F2E-BAB3-6DC1C31A5367}" presName="desTx" presStyleLbl="revTx" presStyleIdx="5" presStyleCnt="6">
        <dgm:presLayoutVars/>
      </dgm:prSet>
      <dgm:spPr/>
    </dgm:pt>
  </dgm:ptLst>
  <dgm:cxnLst>
    <dgm:cxn modelId="{B3AEF121-F640-455D-9BAF-38027FFFDA30}" type="presOf" srcId="{0E8D216E-536B-42A4-A096-6D7E7A16965B}" destId="{CE945595-8868-44D0-84F9-6D754AB33CBB}" srcOrd="0" destOrd="1" presId="urn:microsoft.com/office/officeart/2018/2/layout/IconLabelDescriptionList"/>
    <dgm:cxn modelId="{20652A34-D14E-408B-A5BC-66D34E5608AA}" srcId="{5C243802-4E46-4111-9B40-34B78BF46E0F}" destId="{39572AFB-39E1-4AF6-9C5B-2777052EFAA4}" srcOrd="0" destOrd="0" parTransId="{EB161116-C306-4004-BF9A-030DCDC11151}" sibTransId="{FBB8E879-488D-4D43-9B37-3AC57E4155F9}"/>
    <dgm:cxn modelId="{887ED53B-594E-42AE-B88D-2F64A7D1BECD}" type="presOf" srcId="{9EC21C40-C7FA-45BB-B66B-5DCFCBF104D0}" destId="{DFD69C58-00D1-4335-8C44-BE3F9802F0E2}" srcOrd="0" destOrd="0" presId="urn:microsoft.com/office/officeart/2018/2/layout/IconLabelDescriptionList"/>
    <dgm:cxn modelId="{EF1A703C-2990-4BA7-94EA-5194139E5F41}" srcId="{32CEA10B-CE52-4F2E-BAB3-6DC1C31A5367}" destId="{D969BD6B-986F-4289-8E1B-688F357D84B2}" srcOrd="0" destOrd="0" parTransId="{E8B8EBAF-F0A6-4461-887F-00EC74D82650}" sibTransId="{D7BB3363-7326-445F-B4BE-353E326A1160}"/>
    <dgm:cxn modelId="{9C19384B-7F1B-4A3F-82B1-1DD49C44E3CA}" srcId="{C6E1C449-659C-4806-80E7-D8D256FA7C8A}" destId="{3836B989-06CE-4E9B-9F18-08ED360AAB5F}" srcOrd="0" destOrd="0" parTransId="{C4E840A5-3E5D-480D-8515-0A9FA359ED11}" sibTransId="{EE3CF1A0-B6D3-45FB-9ADC-B29E9F2813E2}"/>
    <dgm:cxn modelId="{00EB7C7D-87AF-4D2F-9899-549100A90191}" srcId="{9EC21C40-C7FA-45BB-B66B-5DCFCBF104D0}" destId="{C6E1C449-659C-4806-80E7-D8D256FA7C8A}" srcOrd="1" destOrd="0" parTransId="{9F89D9F2-79CA-450B-93CE-8D8FE963F4FD}" sibTransId="{F891CF6F-F55B-4680-86C4-6F776338A5D3}"/>
    <dgm:cxn modelId="{01A35286-761B-4FF7-BCF4-C779475A4BD8}" type="presOf" srcId="{5C243802-4E46-4111-9B40-34B78BF46E0F}" destId="{FB47C061-7660-4258-A386-26C2D47BF0E5}" srcOrd="0" destOrd="0" presId="urn:microsoft.com/office/officeart/2018/2/layout/IconLabelDescriptionList"/>
    <dgm:cxn modelId="{AFEE899F-33B6-49B7-ADFE-D744EC4B17FA}" srcId="{9EC21C40-C7FA-45BB-B66B-5DCFCBF104D0}" destId="{32CEA10B-CE52-4F2E-BAB3-6DC1C31A5367}" srcOrd="2" destOrd="0" parTransId="{2EF531D4-6466-4B5C-B58C-B81DE86569BF}" sibTransId="{F3AC664B-6188-4E50-9954-4B5083CC89C5}"/>
    <dgm:cxn modelId="{55C06CA7-B772-4B56-9AEC-627A9D65C869}" type="presOf" srcId="{C6E1C449-659C-4806-80E7-D8D256FA7C8A}" destId="{645EA6F2-0647-4FD0-BF9C-D23D12ED8C92}" srcOrd="0" destOrd="0" presId="urn:microsoft.com/office/officeart/2018/2/layout/IconLabelDescriptionList"/>
    <dgm:cxn modelId="{7554C2B5-A432-489D-A1F3-DBCBEE237C39}" type="presOf" srcId="{D969BD6B-986F-4289-8E1B-688F357D84B2}" destId="{CE945595-8868-44D0-84F9-6D754AB33CBB}" srcOrd="0" destOrd="0" presId="urn:microsoft.com/office/officeart/2018/2/layout/IconLabelDescriptionList"/>
    <dgm:cxn modelId="{1BDAE8B5-DA22-4117-8E5A-EDC57EA4F8C3}" type="presOf" srcId="{39572AFB-39E1-4AF6-9C5B-2777052EFAA4}" destId="{B27C2446-D161-4B06-A46F-2E309FCD9D6D}" srcOrd="0" destOrd="0" presId="urn:microsoft.com/office/officeart/2018/2/layout/IconLabelDescriptionList"/>
    <dgm:cxn modelId="{99E270BF-B716-48D8-8E18-F8C194FBB814}" srcId="{32CEA10B-CE52-4F2E-BAB3-6DC1C31A5367}" destId="{0E8D216E-536B-42A4-A096-6D7E7A16965B}" srcOrd="1" destOrd="0" parTransId="{A2D1C2A1-C4D2-48BB-BDE2-2996808CE7FA}" sibTransId="{5B845EF9-4F2A-452B-9A87-C104A1E954DC}"/>
    <dgm:cxn modelId="{091321F1-5293-41E6-A461-BD733C85609B}" srcId="{9EC21C40-C7FA-45BB-B66B-5DCFCBF104D0}" destId="{5C243802-4E46-4111-9B40-34B78BF46E0F}" srcOrd="0" destOrd="0" parTransId="{5D7A2281-FACA-41F9-A5D2-A0F54FE4CDB9}" sibTransId="{C86E5EAC-1340-4B41-A6B6-17527C1CAB29}"/>
    <dgm:cxn modelId="{9F98BAF1-0051-45C4-92B2-A0A4F998392F}" type="presOf" srcId="{3836B989-06CE-4E9B-9F18-08ED360AAB5F}" destId="{5BB1557D-9BBB-4713-864E-D8C2346A08B4}" srcOrd="0" destOrd="0" presId="urn:microsoft.com/office/officeart/2018/2/layout/IconLabelDescriptionList"/>
    <dgm:cxn modelId="{8A7B7EFC-26F4-4A0E-846E-5163FC7E589B}" type="presOf" srcId="{32CEA10B-CE52-4F2E-BAB3-6DC1C31A5367}" destId="{A15FDB27-8C17-4198-B85E-07149E1148B0}" srcOrd="0" destOrd="0" presId="urn:microsoft.com/office/officeart/2018/2/layout/IconLabelDescriptionList"/>
    <dgm:cxn modelId="{C4400442-D786-4731-8F69-2F40170C2A5A}" type="presParOf" srcId="{DFD69C58-00D1-4335-8C44-BE3F9802F0E2}" destId="{A452B909-E1F0-4149-8749-2462BD324B7D}" srcOrd="0" destOrd="0" presId="urn:microsoft.com/office/officeart/2018/2/layout/IconLabelDescriptionList"/>
    <dgm:cxn modelId="{02358AAD-2A3B-4AC3-8C26-79C865C9CA55}" type="presParOf" srcId="{A452B909-E1F0-4149-8749-2462BD324B7D}" destId="{AAAC2D3C-6D64-4855-97DF-15E34B407443}" srcOrd="0" destOrd="0" presId="urn:microsoft.com/office/officeart/2018/2/layout/IconLabelDescriptionList"/>
    <dgm:cxn modelId="{9A7A8354-3605-4ED5-9FE1-F85B94208AE7}" type="presParOf" srcId="{A452B909-E1F0-4149-8749-2462BD324B7D}" destId="{76767147-6431-4960-9FE9-9EFF1F1DBA64}" srcOrd="1" destOrd="0" presId="urn:microsoft.com/office/officeart/2018/2/layout/IconLabelDescriptionList"/>
    <dgm:cxn modelId="{578535E8-D099-4E36-A10C-F2619E3228DD}" type="presParOf" srcId="{A452B909-E1F0-4149-8749-2462BD324B7D}" destId="{FB47C061-7660-4258-A386-26C2D47BF0E5}" srcOrd="2" destOrd="0" presId="urn:microsoft.com/office/officeart/2018/2/layout/IconLabelDescriptionList"/>
    <dgm:cxn modelId="{55B24CA6-0F36-4E63-AE90-E5EF2B7A224C}" type="presParOf" srcId="{A452B909-E1F0-4149-8749-2462BD324B7D}" destId="{E2202C58-7DE5-4822-BEF3-4005A8BAA896}" srcOrd="3" destOrd="0" presId="urn:microsoft.com/office/officeart/2018/2/layout/IconLabelDescriptionList"/>
    <dgm:cxn modelId="{7EF3D40F-4CC8-4B2E-A0E5-5647A2B26FA9}" type="presParOf" srcId="{A452B909-E1F0-4149-8749-2462BD324B7D}" destId="{B27C2446-D161-4B06-A46F-2E309FCD9D6D}" srcOrd="4" destOrd="0" presId="urn:microsoft.com/office/officeart/2018/2/layout/IconLabelDescriptionList"/>
    <dgm:cxn modelId="{A5BDB5D3-73FE-40C2-816A-72C1D15C8950}" type="presParOf" srcId="{DFD69C58-00D1-4335-8C44-BE3F9802F0E2}" destId="{638E942F-2690-49D3-AB03-EFA2F49057B9}" srcOrd="1" destOrd="0" presId="urn:microsoft.com/office/officeart/2018/2/layout/IconLabelDescriptionList"/>
    <dgm:cxn modelId="{BE378BE7-4CD6-4624-9EB6-13EE6B4D0ABF}" type="presParOf" srcId="{DFD69C58-00D1-4335-8C44-BE3F9802F0E2}" destId="{9A00E4D4-B39C-4175-8007-69EAC21A6DEB}" srcOrd="2" destOrd="0" presId="urn:microsoft.com/office/officeart/2018/2/layout/IconLabelDescriptionList"/>
    <dgm:cxn modelId="{73B110AA-C86F-4EB9-800C-7EBEBACD2838}" type="presParOf" srcId="{9A00E4D4-B39C-4175-8007-69EAC21A6DEB}" destId="{48CD9C2B-7E0F-4D74-8864-2E5947D68815}" srcOrd="0" destOrd="0" presId="urn:microsoft.com/office/officeart/2018/2/layout/IconLabelDescriptionList"/>
    <dgm:cxn modelId="{A71A7789-E20C-49F1-B1DF-714CF7AEFBCE}" type="presParOf" srcId="{9A00E4D4-B39C-4175-8007-69EAC21A6DEB}" destId="{A3BAAA33-1205-4729-8062-A9167F06B957}" srcOrd="1" destOrd="0" presId="urn:microsoft.com/office/officeart/2018/2/layout/IconLabelDescriptionList"/>
    <dgm:cxn modelId="{48B560D1-EE26-4FAF-9D37-735C3E714393}" type="presParOf" srcId="{9A00E4D4-B39C-4175-8007-69EAC21A6DEB}" destId="{645EA6F2-0647-4FD0-BF9C-D23D12ED8C92}" srcOrd="2" destOrd="0" presId="urn:microsoft.com/office/officeart/2018/2/layout/IconLabelDescriptionList"/>
    <dgm:cxn modelId="{F00CF746-1F0A-4F34-8B23-D883CDEEB144}" type="presParOf" srcId="{9A00E4D4-B39C-4175-8007-69EAC21A6DEB}" destId="{22C47F23-36B2-455D-A9B6-BE8945CCCE57}" srcOrd="3" destOrd="0" presId="urn:microsoft.com/office/officeart/2018/2/layout/IconLabelDescriptionList"/>
    <dgm:cxn modelId="{ABC37713-D498-4D59-8D17-2C1F803BCEC7}" type="presParOf" srcId="{9A00E4D4-B39C-4175-8007-69EAC21A6DEB}" destId="{5BB1557D-9BBB-4713-864E-D8C2346A08B4}" srcOrd="4" destOrd="0" presId="urn:microsoft.com/office/officeart/2018/2/layout/IconLabelDescriptionList"/>
    <dgm:cxn modelId="{236D3B0A-DD8C-4F6B-AD1E-41CB0D4DBF68}" type="presParOf" srcId="{DFD69C58-00D1-4335-8C44-BE3F9802F0E2}" destId="{897FFA00-923C-4D9A-B10D-B0180065C56E}" srcOrd="3" destOrd="0" presId="urn:microsoft.com/office/officeart/2018/2/layout/IconLabelDescriptionList"/>
    <dgm:cxn modelId="{339F49A6-131C-43CF-A523-FB76709E66D5}" type="presParOf" srcId="{DFD69C58-00D1-4335-8C44-BE3F9802F0E2}" destId="{EFBF98E5-6784-4305-846D-402DF59DAB6A}" srcOrd="4" destOrd="0" presId="urn:microsoft.com/office/officeart/2018/2/layout/IconLabelDescriptionList"/>
    <dgm:cxn modelId="{27CA8702-E912-4F1A-B2F7-CBFB5E07A0E3}" type="presParOf" srcId="{EFBF98E5-6784-4305-846D-402DF59DAB6A}" destId="{4904ED1F-9F59-47F4-9798-B81874B1E50F}" srcOrd="0" destOrd="0" presId="urn:microsoft.com/office/officeart/2018/2/layout/IconLabelDescriptionList"/>
    <dgm:cxn modelId="{218B59D1-7ACE-4D3E-8778-4E8072D8BFCC}" type="presParOf" srcId="{EFBF98E5-6784-4305-846D-402DF59DAB6A}" destId="{0BF5E77A-E0B1-429D-BFCE-4B2273CEF402}" srcOrd="1" destOrd="0" presId="urn:microsoft.com/office/officeart/2018/2/layout/IconLabelDescriptionList"/>
    <dgm:cxn modelId="{3D2BF86B-A988-42AB-94D8-A1BC2E9C1A86}" type="presParOf" srcId="{EFBF98E5-6784-4305-846D-402DF59DAB6A}" destId="{A15FDB27-8C17-4198-B85E-07149E1148B0}" srcOrd="2" destOrd="0" presId="urn:microsoft.com/office/officeart/2018/2/layout/IconLabelDescriptionList"/>
    <dgm:cxn modelId="{6A99D1AC-ED34-418B-8587-05FC1B02B7B7}" type="presParOf" srcId="{EFBF98E5-6784-4305-846D-402DF59DAB6A}" destId="{DA065FEA-7B3A-4B6E-B604-F74AE2C1B5DC}" srcOrd="3" destOrd="0" presId="urn:microsoft.com/office/officeart/2018/2/layout/IconLabelDescriptionList"/>
    <dgm:cxn modelId="{EC5060AE-2550-4FD4-B289-31CA93A89187}" type="presParOf" srcId="{EFBF98E5-6784-4305-846D-402DF59DAB6A}" destId="{CE945595-8868-44D0-84F9-6D754AB33CB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3_2" csCatId="accent3" phldr="1"/>
      <dgm:spPr/>
      <dgm:t>
        <a:bodyPr/>
        <a:lstStyle/>
        <a:p>
          <a:endParaRPr lang="en-US"/>
        </a:p>
      </dgm:t>
    </dgm:pt>
    <dgm:pt modelId="{5C243802-4E46-4111-9B40-34B78BF46E0F}">
      <dgm:prSet phldr="0"/>
      <dgm:spPr/>
      <dgm:t>
        <a:bodyPr/>
        <a:lstStyle/>
        <a:p>
          <a:pPr>
            <a:lnSpc>
              <a:spcPct val="100000"/>
            </a:lnSpc>
            <a:defRPr b="1"/>
          </a:pPr>
          <a:r>
            <a:rPr lang="en-US" b="0">
              <a:latin typeface="Calibri"/>
              <a:cs typeface="Calibri"/>
            </a:rPr>
            <a:t>Predictive Modeling</a:t>
          </a:r>
          <a:endParaRPr lang="en-US" b="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Identify and capture which customers at risk of churning. </a:t>
          </a:r>
          <a:endParaRPr lang="en-US" b="0" dirty="0">
            <a:latin typeface="Calibri Light"/>
            <a:cs typeface="Calibri Light"/>
          </a:endParaRPr>
        </a:p>
      </dgm:t>
    </dgm:pt>
    <dgm:pt modelId="{EB161116-C306-4004-BF9A-030DCDC11151}" type="parTrans" cxnId="{D5478A06-FDE7-4D5D-9DF5-0DFC7EB53E05}">
      <dgm:prSet/>
      <dgm:spPr/>
    </dgm:pt>
    <dgm:pt modelId="{FBB8E879-488D-4D43-9B37-3AC57E4155F9}" type="sibTrans" cxnId="{D5478A06-FDE7-4D5D-9DF5-0DFC7EB53E05}">
      <dgm:prSet/>
      <dgm:spPr/>
      <dgm:t>
        <a:bodyPr/>
        <a:lstStyle/>
        <a:p>
          <a:endParaRPr lang="en-US"/>
        </a:p>
      </dgm:t>
    </dgm:pt>
    <dgm:pt modelId="{3836B989-06CE-4E9B-9F18-08ED360AAB5F}">
      <dgm:prSet phldr="0"/>
      <dgm:spPr/>
      <dgm:t>
        <a:bodyPr/>
        <a:lstStyle/>
        <a:p>
          <a:pPr>
            <a:lnSpc>
              <a:spcPct val="100000"/>
            </a:lnSpc>
          </a:pPr>
          <a:r>
            <a:rPr lang="en-US">
              <a:latin typeface="Calibri Light"/>
              <a:cs typeface="Arial"/>
            </a:rPr>
            <a:t> - Strengthen the industry's market position. </a:t>
          </a:r>
          <a:endParaRPr lang="en-US">
            <a:latin typeface="Calibri Light"/>
            <a:cs typeface="Calibri Light"/>
          </a:endParaRPr>
        </a:p>
      </dgm:t>
    </dgm:pt>
    <dgm:pt modelId="{C4E840A5-3E5D-480D-8515-0A9FA359ED11}" type="parTrans" cxnId="{075D5BEA-0126-4C67-81CE-B5A23FEC339C}">
      <dgm:prSet/>
      <dgm:spPr/>
    </dgm:pt>
    <dgm:pt modelId="{EE3CF1A0-B6D3-45FB-9ADC-B29E9F2813E2}" type="sibTrans" cxnId="{075D5BEA-0126-4C67-81CE-B5A23FEC339C}">
      <dgm:prSet/>
      <dgm:spPr/>
      <dgm:t>
        <a:bodyPr/>
        <a:lstStyle/>
        <a:p>
          <a:endParaRPr lang="en-US"/>
        </a:p>
      </dgm:t>
    </dgm:pt>
    <dgm:pt modelId="{CD0FDB5D-216E-4E76-A563-F45422428108}">
      <dgm:prSet phldr="0"/>
      <dgm:spPr/>
      <dgm:t>
        <a:bodyPr/>
        <a:lstStyle/>
        <a:p>
          <a:pPr>
            <a:lnSpc>
              <a:spcPct val="100000"/>
            </a:lnSpc>
          </a:pPr>
          <a:r>
            <a:rPr lang="en-US" b="0" dirty="0">
              <a:latin typeface="Calibri Light"/>
              <a:cs typeface="Arial"/>
            </a:rPr>
            <a:t> - For understanding overall experience.</a:t>
          </a:r>
        </a:p>
      </dgm:t>
    </dgm:pt>
    <dgm:pt modelId="{5DB64185-3B0F-4808-B52A-90998328C54A}" type="parTrans" cxnId="{F94AA26C-1B17-49E6-B649-72AC2AD1E60B}">
      <dgm:prSet/>
      <dgm:spPr/>
    </dgm:pt>
    <dgm:pt modelId="{8B058009-966A-4498-8A97-AEC4E68CDC8F}" type="sibTrans" cxnId="{F94AA26C-1B17-49E6-B649-72AC2AD1E60B}">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Strategic Advantage</a:t>
          </a:r>
          <a:endParaRPr lang="en-US"/>
        </a:p>
      </dgm:t>
    </dgm:pt>
    <dgm:pt modelId="{9F89D9F2-79CA-450B-93CE-8D8FE963F4FD}" type="parTrans" cxnId="{A9155D53-5C98-4C1D-BD13-9C49CDDA1020}">
      <dgm:prSet/>
      <dgm:spPr/>
      <dgm:t>
        <a:bodyPr/>
        <a:lstStyle/>
        <a:p>
          <a:endParaRPr lang="en-US"/>
        </a:p>
      </dgm:t>
    </dgm:pt>
    <dgm:pt modelId="{F891CF6F-F55B-4680-86C4-6F776338A5D3}" type="sibTrans" cxnId="{A9155D53-5C98-4C1D-BD13-9C49CDDA1020}">
      <dgm:prSet/>
      <dgm:spPr/>
      <dgm:t>
        <a:bodyPr/>
        <a:lstStyle/>
        <a:p>
          <a:endParaRPr lang="en-US"/>
        </a:p>
      </dgm:t>
    </dgm:pt>
    <dgm:pt modelId="{34482015-C9E2-437C-BEA9-E9713C6D127C}">
      <dgm:prSet phldr="0"/>
      <dgm:spPr/>
      <dgm:t>
        <a:bodyPr/>
        <a:lstStyle/>
        <a:p>
          <a:pPr>
            <a:lnSpc>
              <a:spcPct val="100000"/>
            </a:lnSpc>
          </a:pPr>
          <a:r>
            <a:rPr lang="en-US">
              <a:latin typeface="Calibri Light"/>
              <a:cs typeface="Arial"/>
            </a:rPr>
            <a:t> - It is Less expensive to retain customers than to acquire new ones.</a:t>
          </a:r>
        </a:p>
      </dgm:t>
    </dgm:pt>
    <dgm:pt modelId="{62A1F33E-D420-4303-8945-4D5EECC837D1}" type="parTrans" cxnId="{33A814B4-1282-4663-914D-A0238A8830F7}">
      <dgm:prSet/>
      <dgm:spPr/>
    </dgm:pt>
    <dgm:pt modelId="{E68928C5-D276-4D3B-8D8F-7F575BE36593}" type="sibTrans" cxnId="{33A814B4-1282-4663-914D-A0238A8830F7}">
      <dgm:prSet/>
      <dgm:spPr/>
      <dgm:t>
        <a:bodyPr/>
        <a:lstStyle/>
        <a:p>
          <a:endParaRPr lang="en-US"/>
        </a:p>
      </dgm:t>
    </dgm:pt>
    <dgm:pt modelId="{EE7FA3ED-108F-4E7A-B33D-07C7BBA93001}" type="pres">
      <dgm:prSet presAssocID="{9EC21C40-C7FA-45BB-B66B-5DCFCBF104D0}" presName="root" presStyleCnt="0">
        <dgm:presLayoutVars>
          <dgm:dir/>
          <dgm:resizeHandles val="exact"/>
        </dgm:presLayoutVars>
      </dgm:prSet>
      <dgm:spPr/>
    </dgm:pt>
    <dgm:pt modelId="{D1409066-CC8C-44A0-B1F2-4F8FE3CB1444}" type="pres">
      <dgm:prSet presAssocID="{5C243802-4E46-4111-9B40-34B78BF46E0F}" presName="compNode" presStyleCnt="0"/>
      <dgm:spPr/>
    </dgm:pt>
    <dgm:pt modelId="{FE576FC7-E22E-423E-803B-5600EFA3D75C}" type="pres">
      <dgm:prSet presAssocID="{5C243802-4E46-4111-9B40-34B78BF46E0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laying Cards"/>
        </a:ext>
      </dgm:extLst>
    </dgm:pt>
    <dgm:pt modelId="{5185086F-A253-4912-AA8B-29093104F061}" type="pres">
      <dgm:prSet presAssocID="{5C243802-4E46-4111-9B40-34B78BF46E0F}" presName="iconSpace" presStyleCnt="0"/>
      <dgm:spPr/>
    </dgm:pt>
    <dgm:pt modelId="{F95470FB-6C1E-4742-A273-419E56CFC9D6}" type="pres">
      <dgm:prSet presAssocID="{5C243802-4E46-4111-9B40-34B78BF46E0F}" presName="parTx" presStyleLbl="revTx" presStyleIdx="0" presStyleCnt="4">
        <dgm:presLayoutVars>
          <dgm:chMax val="0"/>
          <dgm:chPref val="0"/>
        </dgm:presLayoutVars>
      </dgm:prSet>
      <dgm:spPr/>
    </dgm:pt>
    <dgm:pt modelId="{2A3F4ADA-BEAE-4EE0-AAB2-78F7C45CC33D}" type="pres">
      <dgm:prSet presAssocID="{5C243802-4E46-4111-9B40-34B78BF46E0F}" presName="txSpace" presStyleCnt="0"/>
      <dgm:spPr/>
    </dgm:pt>
    <dgm:pt modelId="{26519CFC-B413-4A93-B8C3-61BD001D8332}" type="pres">
      <dgm:prSet presAssocID="{5C243802-4E46-4111-9B40-34B78BF46E0F}" presName="desTx" presStyleLbl="revTx" presStyleIdx="1" presStyleCnt="4">
        <dgm:presLayoutVars/>
      </dgm:prSet>
      <dgm:spPr/>
    </dgm:pt>
    <dgm:pt modelId="{2E89BE44-2FB5-4746-99F0-37301596AD92}" type="pres">
      <dgm:prSet presAssocID="{C86E5EAC-1340-4B41-A6B6-17527C1CAB29}" presName="sibTrans" presStyleCnt="0"/>
      <dgm:spPr/>
    </dgm:pt>
    <dgm:pt modelId="{6ED924C8-4C21-4A6B-B44F-CE9F1958310B}" type="pres">
      <dgm:prSet presAssocID="{C6E1C449-659C-4806-80E7-D8D256FA7C8A}" presName="compNode" presStyleCnt="0"/>
      <dgm:spPr/>
    </dgm:pt>
    <dgm:pt modelId="{03A39FC2-04A4-4D67-AD72-9F9C52A64B7E}" type="pres">
      <dgm:prSet presAssocID="{C6E1C449-659C-4806-80E7-D8D256FA7C8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siness Growth"/>
        </a:ext>
      </dgm:extLst>
    </dgm:pt>
    <dgm:pt modelId="{0692A5CB-295C-4635-B2DD-755E897F722D}" type="pres">
      <dgm:prSet presAssocID="{C6E1C449-659C-4806-80E7-D8D256FA7C8A}" presName="iconSpace" presStyleCnt="0"/>
      <dgm:spPr/>
    </dgm:pt>
    <dgm:pt modelId="{BB879B7D-2379-4F8B-B6F0-B211E25194B4}" type="pres">
      <dgm:prSet presAssocID="{C6E1C449-659C-4806-80E7-D8D256FA7C8A}" presName="parTx" presStyleLbl="revTx" presStyleIdx="2" presStyleCnt="4">
        <dgm:presLayoutVars>
          <dgm:chMax val="0"/>
          <dgm:chPref val="0"/>
        </dgm:presLayoutVars>
      </dgm:prSet>
      <dgm:spPr/>
    </dgm:pt>
    <dgm:pt modelId="{E7E5E4FB-8012-4548-80AF-FE5CB00E4F4A}" type="pres">
      <dgm:prSet presAssocID="{C6E1C449-659C-4806-80E7-D8D256FA7C8A}" presName="txSpace" presStyleCnt="0"/>
      <dgm:spPr/>
    </dgm:pt>
    <dgm:pt modelId="{704E6F2F-D915-4EAA-8359-F939D87AC2C0}" type="pres">
      <dgm:prSet presAssocID="{C6E1C449-659C-4806-80E7-D8D256FA7C8A}" presName="desTx" presStyleLbl="revTx" presStyleIdx="3" presStyleCnt="4">
        <dgm:presLayoutVars/>
      </dgm:prSet>
      <dgm:spPr/>
    </dgm:pt>
  </dgm:ptLst>
  <dgm:cxnLst>
    <dgm:cxn modelId="{D5478A06-FDE7-4D5D-9DF5-0DFC7EB53E05}" srcId="{5C243802-4E46-4111-9B40-34B78BF46E0F}" destId="{39572AFB-39E1-4AF6-9C5B-2777052EFAA4}" srcOrd="0" destOrd="0" parTransId="{EB161116-C306-4004-BF9A-030DCDC11151}" sibTransId="{FBB8E879-488D-4D43-9B37-3AC57E4155F9}"/>
    <dgm:cxn modelId="{960FD217-78D0-48F3-992D-8C9027DFDC30}" type="presOf" srcId="{3836B989-06CE-4E9B-9F18-08ED360AAB5F}" destId="{704E6F2F-D915-4EAA-8359-F939D87AC2C0}" srcOrd="0" destOrd="0" presId="urn:microsoft.com/office/officeart/2018/2/layout/IconLabelDescriptionList"/>
    <dgm:cxn modelId="{1EAB5F1D-F052-4E8A-BEBF-F593B6AC047A}" type="presOf" srcId="{CD0FDB5D-216E-4E76-A563-F45422428108}" destId="{26519CFC-B413-4A93-B8C3-61BD001D8332}" srcOrd="0" destOrd="1" presId="urn:microsoft.com/office/officeart/2018/2/layout/IconLabelDescriptionList"/>
    <dgm:cxn modelId="{A35CD938-EDD9-4B7C-9D11-1BFDC6067807}" type="presOf" srcId="{5C243802-4E46-4111-9B40-34B78BF46E0F}" destId="{F95470FB-6C1E-4742-A273-419E56CFC9D6}" srcOrd="0" destOrd="0" presId="urn:microsoft.com/office/officeart/2018/2/layout/IconLabelDescriptionList"/>
    <dgm:cxn modelId="{F94AA26C-1B17-49E6-B649-72AC2AD1E60B}" srcId="{5C243802-4E46-4111-9B40-34B78BF46E0F}" destId="{CD0FDB5D-216E-4E76-A563-F45422428108}" srcOrd="1" destOrd="0" parTransId="{5DB64185-3B0F-4808-B52A-90998328C54A}" sibTransId="{8B058009-966A-4498-8A97-AEC4E68CDC8F}"/>
    <dgm:cxn modelId="{A9155D53-5C98-4C1D-BD13-9C49CDDA1020}" srcId="{9EC21C40-C7FA-45BB-B66B-5DCFCBF104D0}" destId="{C6E1C449-659C-4806-80E7-D8D256FA7C8A}" srcOrd="1" destOrd="0" parTransId="{9F89D9F2-79CA-450B-93CE-8D8FE963F4FD}" sibTransId="{F891CF6F-F55B-4680-86C4-6F776338A5D3}"/>
    <dgm:cxn modelId="{2FF4EDA0-8E0F-4A5F-8F52-66D41EEFF19B}" type="presOf" srcId="{34482015-C9E2-437C-BEA9-E9713C6D127C}" destId="{704E6F2F-D915-4EAA-8359-F939D87AC2C0}" srcOrd="0" destOrd="1" presId="urn:microsoft.com/office/officeart/2018/2/layout/IconLabelDescriptionList"/>
    <dgm:cxn modelId="{52C6C8AC-9F4A-4E99-9C40-09962A064EC8}" type="presOf" srcId="{C6E1C449-659C-4806-80E7-D8D256FA7C8A}" destId="{BB879B7D-2379-4F8B-B6F0-B211E25194B4}" srcOrd="0" destOrd="0" presId="urn:microsoft.com/office/officeart/2018/2/layout/IconLabelDescriptionList"/>
    <dgm:cxn modelId="{33A814B4-1282-4663-914D-A0238A8830F7}" srcId="{C6E1C449-659C-4806-80E7-D8D256FA7C8A}" destId="{34482015-C9E2-437C-BEA9-E9713C6D127C}" srcOrd="1" destOrd="0" parTransId="{62A1F33E-D420-4303-8945-4D5EECC837D1}" sibTransId="{E68928C5-D276-4D3B-8D8F-7F575BE36593}"/>
    <dgm:cxn modelId="{075D5BEA-0126-4C67-81CE-B5A23FEC339C}" srcId="{C6E1C449-659C-4806-80E7-D8D256FA7C8A}" destId="{3836B989-06CE-4E9B-9F18-08ED360AAB5F}" srcOrd="0" destOrd="0" parTransId="{C4E840A5-3E5D-480D-8515-0A9FA359ED11}" sibTransId="{EE3CF1A0-B6D3-45FB-9ADC-B29E9F2813E2}"/>
    <dgm:cxn modelId="{091321F1-5293-41E6-A461-BD733C85609B}" srcId="{9EC21C40-C7FA-45BB-B66B-5DCFCBF104D0}" destId="{5C243802-4E46-4111-9B40-34B78BF46E0F}" srcOrd="0" destOrd="0" parTransId="{5D7A2281-FACA-41F9-A5D2-A0F54FE4CDB9}" sibTransId="{C86E5EAC-1340-4B41-A6B6-17527C1CAB29}"/>
    <dgm:cxn modelId="{7A2569F7-A9F3-48EE-ABE3-7F49A8CD0841}" type="presOf" srcId="{9EC21C40-C7FA-45BB-B66B-5DCFCBF104D0}" destId="{EE7FA3ED-108F-4E7A-B33D-07C7BBA93001}" srcOrd="0" destOrd="0" presId="urn:microsoft.com/office/officeart/2018/2/layout/IconLabelDescriptionList"/>
    <dgm:cxn modelId="{9BF585FB-DC13-474C-A9D3-83569310AF78}" type="presOf" srcId="{39572AFB-39E1-4AF6-9C5B-2777052EFAA4}" destId="{26519CFC-B413-4A93-B8C3-61BD001D8332}" srcOrd="0" destOrd="0" presId="urn:microsoft.com/office/officeart/2018/2/layout/IconLabelDescriptionList"/>
    <dgm:cxn modelId="{620595F9-9F32-441B-BA81-E9B15EEC3306}" type="presParOf" srcId="{EE7FA3ED-108F-4E7A-B33D-07C7BBA93001}" destId="{D1409066-CC8C-44A0-B1F2-4F8FE3CB1444}" srcOrd="0" destOrd="0" presId="urn:microsoft.com/office/officeart/2018/2/layout/IconLabelDescriptionList"/>
    <dgm:cxn modelId="{4B0828D7-66BC-49BC-901D-7397B98290B8}" type="presParOf" srcId="{D1409066-CC8C-44A0-B1F2-4F8FE3CB1444}" destId="{FE576FC7-E22E-423E-803B-5600EFA3D75C}" srcOrd="0" destOrd="0" presId="urn:microsoft.com/office/officeart/2018/2/layout/IconLabelDescriptionList"/>
    <dgm:cxn modelId="{FBEFEC27-6608-41C8-B3B1-2D724712402C}" type="presParOf" srcId="{D1409066-CC8C-44A0-B1F2-4F8FE3CB1444}" destId="{5185086F-A253-4912-AA8B-29093104F061}" srcOrd="1" destOrd="0" presId="urn:microsoft.com/office/officeart/2018/2/layout/IconLabelDescriptionList"/>
    <dgm:cxn modelId="{D7DBB9A0-76BC-4285-AE9D-2BFECEE979E5}" type="presParOf" srcId="{D1409066-CC8C-44A0-B1F2-4F8FE3CB1444}" destId="{F95470FB-6C1E-4742-A273-419E56CFC9D6}" srcOrd="2" destOrd="0" presId="urn:microsoft.com/office/officeart/2018/2/layout/IconLabelDescriptionList"/>
    <dgm:cxn modelId="{E999E575-1FB1-46D0-BC93-60EF02CD7963}" type="presParOf" srcId="{D1409066-CC8C-44A0-B1F2-4F8FE3CB1444}" destId="{2A3F4ADA-BEAE-4EE0-AAB2-78F7C45CC33D}" srcOrd="3" destOrd="0" presId="urn:microsoft.com/office/officeart/2018/2/layout/IconLabelDescriptionList"/>
    <dgm:cxn modelId="{F1810632-11F1-4A7E-8FE5-EAFB804B750E}" type="presParOf" srcId="{D1409066-CC8C-44A0-B1F2-4F8FE3CB1444}" destId="{26519CFC-B413-4A93-B8C3-61BD001D8332}" srcOrd="4" destOrd="0" presId="urn:microsoft.com/office/officeart/2018/2/layout/IconLabelDescriptionList"/>
    <dgm:cxn modelId="{9C447A08-B18D-4619-A29E-A69F901931FE}" type="presParOf" srcId="{EE7FA3ED-108F-4E7A-B33D-07C7BBA93001}" destId="{2E89BE44-2FB5-4746-99F0-37301596AD92}" srcOrd="1" destOrd="0" presId="urn:microsoft.com/office/officeart/2018/2/layout/IconLabelDescriptionList"/>
    <dgm:cxn modelId="{7E7AF21D-B6C7-412F-8A1D-99C261B41EDB}" type="presParOf" srcId="{EE7FA3ED-108F-4E7A-B33D-07C7BBA93001}" destId="{6ED924C8-4C21-4A6B-B44F-CE9F1958310B}" srcOrd="2" destOrd="0" presId="urn:microsoft.com/office/officeart/2018/2/layout/IconLabelDescriptionList"/>
    <dgm:cxn modelId="{C06BE6A8-8F8E-42A6-B4D9-3E3C5928435E}" type="presParOf" srcId="{6ED924C8-4C21-4A6B-B44F-CE9F1958310B}" destId="{03A39FC2-04A4-4D67-AD72-9F9C52A64B7E}" srcOrd="0" destOrd="0" presId="urn:microsoft.com/office/officeart/2018/2/layout/IconLabelDescriptionList"/>
    <dgm:cxn modelId="{DBDECEAF-0C36-4404-AA43-C013D7B7E484}" type="presParOf" srcId="{6ED924C8-4C21-4A6B-B44F-CE9F1958310B}" destId="{0692A5CB-295C-4635-B2DD-755E897F722D}" srcOrd="1" destOrd="0" presId="urn:microsoft.com/office/officeart/2018/2/layout/IconLabelDescriptionList"/>
    <dgm:cxn modelId="{CC8AC2A4-0FB6-49FD-9DF1-7FA2D2E468FC}" type="presParOf" srcId="{6ED924C8-4C21-4A6B-B44F-CE9F1958310B}" destId="{BB879B7D-2379-4F8B-B6F0-B211E25194B4}" srcOrd="2" destOrd="0" presId="urn:microsoft.com/office/officeart/2018/2/layout/IconLabelDescriptionList"/>
    <dgm:cxn modelId="{E2BF4895-D757-452D-AE60-71C2F955D492}" type="presParOf" srcId="{6ED924C8-4C21-4A6B-B44F-CE9F1958310B}" destId="{E7E5E4FB-8012-4548-80AF-FE5CB00E4F4A}" srcOrd="3" destOrd="0" presId="urn:microsoft.com/office/officeart/2018/2/layout/IconLabelDescriptionList"/>
    <dgm:cxn modelId="{3D244089-2E8F-4425-967F-510E7B9DD729}" type="presParOf" srcId="{6ED924C8-4C21-4A6B-B44F-CE9F1958310B}" destId="{704E6F2F-D915-4EAA-8359-F939D87AC2C0}"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06A9E3-2B51-4079-B941-5B0B529B116D}"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F9BE191A-6C3A-43D9-9F01-8FA5099F5956}">
      <dgm:prSet/>
      <dgm:spPr/>
      <dgm:t>
        <a:bodyPr/>
        <a:lstStyle/>
        <a:p>
          <a:pPr>
            <a:lnSpc>
              <a:spcPct val="100000"/>
            </a:lnSpc>
          </a:pPr>
          <a:r>
            <a:rPr lang="en-US" b="0"/>
            <a:t>Logistic regression (baseline model)</a:t>
          </a:r>
          <a:endParaRPr lang="en-US"/>
        </a:p>
      </dgm:t>
    </dgm:pt>
    <dgm:pt modelId="{0236FDAF-65C3-48CE-8A41-E55727BEFAA0}" type="parTrans" cxnId="{6B8FB9DA-CF1E-46A0-BE4B-9356FE06360E}">
      <dgm:prSet/>
      <dgm:spPr/>
      <dgm:t>
        <a:bodyPr/>
        <a:lstStyle/>
        <a:p>
          <a:endParaRPr lang="en-US"/>
        </a:p>
      </dgm:t>
    </dgm:pt>
    <dgm:pt modelId="{88AC452E-1F22-4AFC-ABBD-C4C16186F296}" type="sibTrans" cxnId="{6B8FB9DA-CF1E-46A0-BE4B-9356FE06360E}">
      <dgm:prSet/>
      <dgm:spPr/>
      <dgm:t>
        <a:bodyPr/>
        <a:lstStyle/>
        <a:p>
          <a:endParaRPr lang="en-US"/>
        </a:p>
      </dgm:t>
    </dgm:pt>
    <dgm:pt modelId="{35A18AB3-B3CA-425C-9840-EB5CC44D11D8}">
      <dgm:prSet/>
      <dgm:spPr/>
      <dgm:t>
        <a:bodyPr/>
        <a:lstStyle/>
        <a:p>
          <a:pPr>
            <a:lnSpc>
              <a:spcPct val="100000"/>
            </a:lnSpc>
          </a:pPr>
          <a:r>
            <a:rPr lang="en-US" noProof="0"/>
            <a:t>Decision tree </a:t>
          </a:r>
        </a:p>
      </dgm:t>
    </dgm:pt>
    <dgm:pt modelId="{83C32BD3-A392-4C19-9717-98BDA5D0F943}" type="parTrans" cxnId="{2B313B43-BEA2-4479-9129-E52E059F35AC}">
      <dgm:prSet/>
      <dgm:spPr/>
      <dgm:t>
        <a:bodyPr/>
        <a:lstStyle/>
        <a:p>
          <a:endParaRPr lang="en-US"/>
        </a:p>
      </dgm:t>
    </dgm:pt>
    <dgm:pt modelId="{414D61A4-F1B5-42E0-8E5A-D5486DBFF523}" type="sibTrans" cxnId="{2B313B43-BEA2-4479-9129-E52E059F35AC}">
      <dgm:prSet/>
      <dgm:spPr/>
      <dgm:t>
        <a:bodyPr/>
        <a:lstStyle/>
        <a:p>
          <a:endParaRPr lang="en-US"/>
        </a:p>
      </dgm:t>
    </dgm:pt>
    <dgm:pt modelId="{68EC3DFB-15ED-41A3-8FD1-D954F789AED2}">
      <dgm:prSet/>
      <dgm:spPr/>
      <dgm:t>
        <a:bodyPr/>
        <a:lstStyle/>
        <a:p>
          <a:pPr>
            <a:lnSpc>
              <a:spcPct val="100000"/>
            </a:lnSpc>
          </a:pPr>
          <a:r>
            <a:rPr lang="en-US" noProof="0"/>
            <a:t>Random forest</a:t>
          </a:r>
        </a:p>
      </dgm:t>
    </dgm:pt>
    <dgm:pt modelId="{F46CA499-14EA-4252-9CF7-892A7CC0C569}" type="parTrans" cxnId="{71505FB5-0972-4FDF-A592-043C471A1E47}">
      <dgm:prSet/>
      <dgm:spPr/>
      <dgm:t>
        <a:bodyPr/>
        <a:lstStyle/>
        <a:p>
          <a:endParaRPr lang="en-US"/>
        </a:p>
      </dgm:t>
    </dgm:pt>
    <dgm:pt modelId="{8452CD7C-D78C-4185-A287-16D733620B24}" type="sibTrans" cxnId="{71505FB5-0972-4FDF-A592-043C471A1E47}">
      <dgm:prSet/>
      <dgm:spPr/>
      <dgm:t>
        <a:bodyPr/>
        <a:lstStyle/>
        <a:p>
          <a:endParaRPr lang="en-US"/>
        </a:p>
      </dgm:t>
    </dgm:pt>
    <dgm:pt modelId="{4312ED89-CB24-4EDD-98B2-E222F8D917EC}">
      <dgm:prSet/>
      <dgm:spPr/>
      <dgm:t>
        <a:bodyPr/>
        <a:lstStyle/>
        <a:p>
          <a:pPr>
            <a:lnSpc>
              <a:spcPct val="100000"/>
            </a:lnSpc>
          </a:pPr>
          <a:r>
            <a:rPr lang="en-US" noProof="0"/>
            <a:t>K-Nearest Neighbor</a:t>
          </a:r>
        </a:p>
      </dgm:t>
    </dgm:pt>
    <dgm:pt modelId="{B3269293-AE2B-422A-91E3-76DE3CBC10F2}" type="parTrans" cxnId="{1251F24E-10CE-494A-92D1-2809736F3ACB}">
      <dgm:prSet/>
      <dgm:spPr/>
      <dgm:t>
        <a:bodyPr/>
        <a:lstStyle/>
        <a:p>
          <a:endParaRPr lang="en-US"/>
        </a:p>
      </dgm:t>
    </dgm:pt>
    <dgm:pt modelId="{88A1D5D9-C2E6-434C-A35C-A0D1E6A4E3DA}" type="sibTrans" cxnId="{1251F24E-10CE-494A-92D1-2809736F3ACB}">
      <dgm:prSet/>
      <dgm:spPr/>
      <dgm:t>
        <a:bodyPr/>
        <a:lstStyle/>
        <a:p>
          <a:endParaRPr lang="en-US"/>
        </a:p>
      </dgm:t>
    </dgm:pt>
    <dgm:pt modelId="{2FAB4067-2889-424F-B01F-1C2F6902A048}" type="pres">
      <dgm:prSet presAssocID="{4D06A9E3-2B51-4079-B941-5B0B529B116D}" presName="root" presStyleCnt="0">
        <dgm:presLayoutVars>
          <dgm:dir/>
          <dgm:resizeHandles val="exact"/>
        </dgm:presLayoutVars>
      </dgm:prSet>
      <dgm:spPr/>
    </dgm:pt>
    <dgm:pt modelId="{D827D166-4D1C-446C-BAFF-AB676481C783}" type="pres">
      <dgm:prSet presAssocID="{F9BE191A-6C3A-43D9-9F01-8FA5099F5956}" presName="compNode" presStyleCnt="0"/>
      <dgm:spPr/>
    </dgm:pt>
    <dgm:pt modelId="{05CEA42A-C1B5-4965-B225-591B312C758E}" type="pres">
      <dgm:prSet presAssocID="{F9BE191A-6C3A-43D9-9F01-8FA5099F595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atistics"/>
        </a:ext>
      </dgm:extLst>
    </dgm:pt>
    <dgm:pt modelId="{66007008-D8E4-4BC2-831B-B485EBF2E74A}" type="pres">
      <dgm:prSet presAssocID="{F9BE191A-6C3A-43D9-9F01-8FA5099F5956}" presName="spaceRect" presStyleCnt="0"/>
      <dgm:spPr/>
    </dgm:pt>
    <dgm:pt modelId="{5250DF49-3295-4160-9EF9-13A61905D156}" type="pres">
      <dgm:prSet presAssocID="{F9BE191A-6C3A-43D9-9F01-8FA5099F5956}" presName="textRect" presStyleLbl="revTx" presStyleIdx="0" presStyleCnt="4">
        <dgm:presLayoutVars>
          <dgm:chMax val="1"/>
          <dgm:chPref val="1"/>
        </dgm:presLayoutVars>
      </dgm:prSet>
      <dgm:spPr/>
    </dgm:pt>
    <dgm:pt modelId="{FB7C21CF-466A-48E6-9E20-57DB4D3F522B}" type="pres">
      <dgm:prSet presAssocID="{88AC452E-1F22-4AFC-ABBD-C4C16186F296}" presName="sibTrans" presStyleCnt="0"/>
      <dgm:spPr/>
    </dgm:pt>
    <dgm:pt modelId="{AA80F8CE-40BE-4AC0-B6DF-53096B5AA668}" type="pres">
      <dgm:prSet presAssocID="{35A18AB3-B3CA-425C-9840-EB5CC44D11D8}" presName="compNode" presStyleCnt="0"/>
      <dgm:spPr/>
    </dgm:pt>
    <dgm:pt modelId="{CF7B3429-75AE-4116-BEB9-F7D8606E9F8D}" type="pres">
      <dgm:prSet presAssocID="{35A18AB3-B3CA-425C-9840-EB5CC44D11D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ir tree with solid fill"/>
        </a:ext>
      </dgm:extLst>
    </dgm:pt>
    <dgm:pt modelId="{BF31B91A-1744-4A24-802D-1BA662F75BC3}" type="pres">
      <dgm:prSet presAssocID="{35A18AB3-B3CA-425C-9840-EB5CC44D11D8}" presName="spaceRect" presStyleCnt="0"/>
      <dgm:spPr/>
    </dgm:pt>
    <dgm:pt modelId="{2EF3CA5F-E7EC-42E1-BD73-943B7847A23D}" type="pres">
      <dgm:prSet presAssocID="{35A18AB3-B3CA-425C-9840-EB5CC44D11D8}" presName="textRect" presStyleLbl="revTx" presStyleIdx="1" presStyleCnt="4">
        <dgm:presLayoutVars>
          <dgm:chMax val="1"/>
          <dgm:chPref val="1"/>
        </dgm:presLayoutVars>
      </dgm:prSet>
      <dgm:spPr/>
    </dgm:pt>
    <dgm:pt modelId="{28DD6A77-765E-48C9-9556-89C5FC75B80B}" type="pres">
      <dgm:prSet presAssocID="{414D61A4-F1B5-42E0-8E5A-D5486DBFF523}" presName="sibTrans" presStyleCnt="0"/>
      <dgm:spPr/>
    </dgm:pt>
    <dgm:pt modelId="{507F9DE7-E379-44D2-A84D-79EB8373241A}" type="pres">
      <dgm:prSet presAssocID="{4312ED89-CB24-4EDD-98B2-E222F8D917EC}" presName="compNode" presStyleCnt="0"/>
      <dgm:spPr/>
    </dgm:pt>
    <dgm:pt modelId="{117A2E51-0246-4D08-B374-F2129C2168BB}" type="pres">
      <dgm:prSet presAssocID="{4312ED89-CB24-4EDD-98B2-E222F8D917E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Neighborhood with solid fill"/>
        </a:ext>
      </dgm:extLst>
    </dgm:pt>
    <dgm:pt modelId="{3DEB2141-F285-48F7-87AB-2844328B0D42}" type="pres">
      <dgm:prSet presAssocID="{4312ED89-CB24-4EDD-98B2-E222F8D917EC}" presName="spaceRect" presStyleCnt="0"/>
      <dgm:spPr/>
    </dgm:pt>
    <dgm:pt modelId="{F0FC2ECC-A945-4628-A5AD-4802C2582279}" type="pres">
      <dgm:prSet presAssocID="{4312ED89-CB24-4EDD-98B2-E222F8D917EC}" presName="textRect" presStyleLbl="revTx" presStyleIdx="2" presStyleCnt="4">
        <dgm:presLayoutVars>
          <dgm:chMax val="1"/>
          <dgm:chPref val="1"/>
        </dgm:presLayoutVars>
      </dgm:prSet>
      <dgm:spPr/>
    </dgm:pt>
    <dgm:pt modelId="{3B3FAE0A-F5A6-40DF-9C77-7D9753BB4D83}" type="pres">
      <dgm:prSet presAssocID="{88A1D5D9-C2E6-434C-A35C-A0D1E6A4E3DA}" presName="sibTrans" presStyleCnt="0"/>
      <dgm:spPr/>
    </dgm:pt>
    <dgm:pt modelId="{5D161629-6A5F-469B-B87E-42927C448251}" type="pres">
      <dgm:prSet presAssocID="{68EC3DFB-15ED-41A3-8FD1-D954F789AED2}" presName="compNode" presStyleCnt="0"/>
      <dgm:spPr/>
    </dgm:pt>
    <dgm:pt modelId="{2A96DEA7-7C98-4B66-9ECC-E1A663A659FD}" type="pres">
      <dgm:prSet presAssocID="{68EC3DFB-15ED-41A3-8FD1-D954F789AED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Forest scene with solid fill"/>
        </a:ext>
      </dgm:extLst>
    </dgm:pt>
    <dgm:pt modelId="{50336752-6716-4D40-8E3F-9E1D7E9F7F76}" type="pres">
      <dgm:prSet presAssocID="{68EC3DFB-15ED-41A3-8FD1-D954F789AED2}" presName="spaceRect" presStyleCnt="0"/>
      <dgm:spPr/>
    </dgm:pt>
    <dgm:pt modelId="{3C1D48FE-8FDC-4133-BDBA-78D55C6FC5B1}" type="pres">
      <dgm:prSet presAssocID="{68EC3DFB-15ED-41A3-8FD1-D954F789AED2}" presName="textRect" presStyleLbl="revTx" presStyleIdx="3" presStyleCnt="4">
        <dgm:presLayoutVars>
          <dgm:chMax val="1"/>
          <dgm:chPref val="1"/>
        </dgm:presLayoutVars>
      </dgm:prSet>
      <dgm:spPr/>
    </dgm:pt>
  </dgm:ptLst>
  <dgm:cxnLst>
    <dgm:cxn modelId="{F4A5BE03-1059-4DE0-81CE-8147BE5E8337}" type="presOf" srcId="{35A18AB3-B3CA-425C-9840-EB5CC44D11D8}" destId="{2EF3CA5F-E7EC-42E1-BD73-943B7847A23D}" srcOrd="0" destOrd="0" presId="urn:microsoft.com/office/officeart/2018/2/layout/IconLabelList"/>
    <dgm:cxn modelId="{2B313B43-BEA2-4479-9129-E52E059F35AC}" srcId="{4D06A9E3-2B51-4079-B941-5B0B529B116D}" destId="{35A18AB3-B3CA-425C-9840-EB5CC44D11D8}" srcOrd="1" destOrd="0" parTransId="{83C32BD3-A392-4C19-9717-98BDA5D0F943}" sibTransId="{414D61A4-F1B5-42E0-8E5A-D5486DBFF523}"/>
    <dgm:cxn modelId="{55A1AF65-D81F-43FB-81D9-D70C72524B49}" type="presOf" srcId="{4D06A9E3-2B51-4079-B941-5B0B529B116D}" destId="{2FAB4067-2889-424F-B01F-1C2F6902A048}" srcOrd="0" destOrd="0" presId="urn:microsoft.com/office/officeart/2018/2/layout/IconLabelList"/>
    <dgm:cxn modelId="{1251F24E-10CE-494A-92D1-2809736F3ACB}" srcId="{4D06A9E3-2B51-4079-B941-5B0B529B116D}" destId="{4312ED89-CB24-4EDD-98B2-E222F8D917EC}" srcOrd="2" destOrd="0" parTransId="{B3269293-AE2B-422A-91E3-76DE3CBC10F2}" sibTransId="{88A1D5D9-C2E6-434C-A35C-A0D1E6A4E3DA}"/>
    <dgm:cxn modelId="{C3E42F98-BA4E-4C01-9CD0-BF958E243630}" type="presOf" srcId="{68EC3DFB-15ED-41A3-8FD1-D954F789AED2}" destId="{3C1D48FE-8FDC-4133-BDBA-78D55C6FC5B1}" srcOrd="0" destOrd="0" presId="urn:microsoft.com/office/officeart/2018/2/layout/IconLabelList"/>
    <dgm:cxn modelId="{2A3AE49C-71E4-4C50-AC5D-5F857518FD13}" type="presOf" srcId="{F9BE191A-6C3A-43D9-9F01-8FA5099F5956}" destId="{5250DF49-3295-4160-9EF9-13A61905D156}" srcOrd="0" destOrd="0" presId="urn:microsoft.com/office/officeart/2018/2/layout/IconLabelList"/>
    <dgm:cxn modelId="{02DC22A7-50C6-496C-9127-54EDCC1519C9}" type="presOf" srcId="{4312ED89-CB24-4EDD-98B2-E222F8D917EC}" destId="{F0FC2ECC-A945-4628-A5AD-4802C2582279}" srcOrd="0" destOrd="0" presId="urn:microsoft.com/office/officeart/2018/2/layout/IconLabelList"/>
    <dgm:cxn modelId="{71505FB5-0972-4FDF-A592-043C471A1E47}" srcId="{4D06A9E3-2B51-4079-B941-5B0B529B116D}" destId="{68EC3DFB-15ED-41A3-8FD1-D954F789AED2}" srcOrd="3" destOrd="0" parTransId="{F46CA499-14EA-4252-9CF7-892A7CC0C569}" sibTransId="{8452CD7C-D78C-4185-A287-16D733620B24}"/>
    <dgm:cxn modelId="{6B8FB9DA-CF1E-46A0-BE4B-9356FE06360E}" srcId="{4D06A9E3-2B51-4079-B941-5B0B529B116D}" destId="{F9BE191A-6C3A-43D9-9F01-8FA5099F5956}" srcOrd="0" destOrd="0" parTransId="{0236FDAF-65C3-48CE-8A41-E55727BEFAA0}" sibTransId="{88AC452E-1F22-4AFC-ABBD-C4C16186F296}"/>
    <dgm:cxn modelId="{3B0EBCC3-0C46-4C77-AE7E-6616737A71D8}" type="presParOf" srcId="{2FAB4067-2889-424F-B01F-1C2F6902A048}" destId="{D827D166-4D1C-446C-BAFF-AB676481C783}" srcOrd="0" destOrd="0" presId="urn:microsoft.com/office/officeart/2018/2/layout/IconLabelList"/>
    <dgm:cxn modelId="{58C008B0-3C54-4038-8F4A-46CAC9884CD8}" type="presParOf" srcId="{D827D166-4D1C-446C-BAFF-AB676481C783}" destId="{05CEA42A-C1B5-4965-B225-591B312C758E}" srcOrd="0" destOrd="0" presId="urn:microsoft.com/office/officeart/2018/2/layout/IconLabelList"/>
    <dgm:cxn modelId="{5F7F333E-F215-4D16-8606-8396131D1FAD}" type="presParOf" srcId="{D827D166-4D1C-446C-BAFF-AB676481C783}" destId="{66007008-D8E4-4BC2-831B-B485EBF2E74A}" srcOrd="1" destOrd="0" presId="urn:microsoft.com/office/officeart/2018/2/layout/IconLabelList"/>
    <dgm:cxn modelId="{C817954C-A4A3-44EC-9286-898D53A50F8C}" type="presParOf" srcId="{D827D166-4D1C-446C-BAFF-AB676481C783}" destId="{5250DF49-3295-4160-9EF9-13A61905D156}" srcOrd="2" destOrd="0" presId="urn:microsoft.com/office/officeart/2018/2/layout/IconLabelList"/>
    <dgm:cxn modelId="{3594C22E-38BB-49CD-B320-6CD2D8718DDB}" type="presParOf" srcId="{2FAB4067-2889-424F-B01F-1C2F6902A048}" destId="{FB7C21CF-466A-48E6-9E20-57DB4D3F522B}" srcOrd="1" destOrd="0" presId="urn:microsoft.com/office/officeart/2018/2/layout/IconLabelList"/>
    <dgm:cxn modelId="{8C97C72B-6E96-4335-B51E-81BBAADF0F0E}" type="presParOf" srcId="{2FAB4067-2889-424F-B01F-1C2F6902A048}" destId="{AA80F8CE-40BE-4AC0-B6DF-53096B5AA668}" srcOrd="2" destOrd="0" presId="urn:microsoft.com/office/officeart/2018/2/layout/IconLabelList"/>
    <dgm:cxn modelId="{128D6E5F-7742-4B2F-BF8B-0F6B9900E87A}" type="presParOf" srcId="{AA80F8CE-40BE-4AC0-B6DF-53096B5AA668}" destId="{CF7B3429-75AE-4116-BEB9-F7D8606E9F8D}" srcOrd="0" destOrd="0" presId="urn:microsoft.com/office/officeart/2018/2/layout/IconLabelList"/>
    <dgm:cxn modelId="{5F431C40-31B5-4B03-A199-D69E81AF85B1}" type="presParOf" srcId="{AA80F8CE-40BE-4AC0-B6DF-53096B5AA668}" destId="{BF31B91A-1744-4A24-802D-1BA662F75BC3}" srcOrd="1" destOrd="0" presId="urn:microsoft.com/office/officeart/2018/2/layout/IconLabelList"/>
    <dgm:cxn modelId="{20992329-6023-41AD-ADF0-BE8C5B5374A0}" type="presParOf" srcId="{AA80F8CE-40BE-4AC0-B6DF-53096B5AA668}" destId="{2EF3CA5F-E7EC-42E1-BD73-943B7847A23D}" srcOrd="2" destOrd="0" presId="urn:microsoft.com/office/officeart/2018/2/layout/IconLabelList"/>
    <dgm:cxn modelId="{4451DE0A-0FF7-4C2E-A9D8-8D45BA7BFC8A}" type="presParOf" srcId="{2FAB4067-2889-424F-B01F-1C2F6902A048}" destId="{28DD6A77-765E-48C9-9556-89C5FC75B80B}" srcOrd="3" destOrd="0" presId="urn:microsoft.com/office/officeart/2018/2/layout/IconLabelList"/>
    <dgm:cxn modelId="{D5B5B0E5-5ED9-40A5-BA5D-D5014B2AB7BB}" type="presParOf" srcId="{2FAB4067-2889-424F-B01F-1C2F6902A048}" destId="{507F9DE7-E379-44D2-A84D-79EB8373241A}" srcOrd="4" destOrd="0" presId="urn:microsoft.com/office/officeart/2018/2/layout/IconLabelList"/>
    <dgm:cxn modelId="{C7A35B90-F4AF-4CA6-AF5C-7442D695031A}" type="presParOf" srcId="{507F9DE7-E379-44D2-A84D-79EB8373241A}" destId="{117A2E51-0246-4D08-B374-F2129C2168BB}" srcOrd="0" destOrd="0" presId="urn:microsoft.com/office/officeart/2018/2/layout/IconLabelList"/>
    <dgm:cxn modelId="{D8A304BF-08AF-4406-9057-9363C88B3606}" type="presParOf" srcId="{507F9DE7-E379-44D2-A84D-79EB8373241A}" destId="{3DEB2141-F285-48F7-87AB-2844328B0D42}" srcOrd="1" destOrd="0" presId="urn:microsoft.com/office/officeart/2018/2/layout/IconLabelList"/>
    <dgm:cxn modelId="{FD415D7A-A2AB-483D-BCCE-5CC3CA7A2271}" type="presParOf" srcId="{507F9DE7-E379-44D2-A84D-79EB8373241A}" destId="{F0FC2ECC-A945-4628-A5AD-4802C2582279}" srcOrd="2" destOrd="0" presId="urn:microsoft.com/office/officeart/2018/2/layout/IconLabelList"/>
    <dgm:cxn modelId="{3F60D78E-C5EE-440D-A218-93890710FA5C}" type="presParOf" srcId="{2FAB4067-2889-424F-B01F-1C2F6902A048}" destId="{3B3FAE0A-F5A6-40DF-9C77-7D9753BB4D83}" srcOrd="5" destOrd="0" presId="urn:microsoft.com/office/officeart/2018/2/layout/IconLabelList"/>
    <dgm:cxn modelId="{EAE3030A-DAB2-4634-97ED-0298CDD068F4}" type="presParOf" srcId="{2FAB4067-2889-424F-B01F-1C2F6902A048}" destId="{5D161629-6A5F-469B-B87E-42927C448251}" srcOrd="6" destOrd="0" presId="urn:microsoft.com/office/officeart/2018/2/layout/IconLabelList"/>
    <dgm:cxn modelId="{F773AF91-7E62-451D-B96D-7CC2A394D9D7}" type="presParOf" srcId="{5D161629-6A5F-469B-B87E-42927C448251}" destId="{2A96DEA7-7C98-4B66-9ECC-E1A663A659FD}" srcOrd="0" destOrd="0" presId="urn:microsoft.com/office/officeart/2018/2/layout/IconLabelList"/>
    <dgm:cxn modelId="{CDCF780A-E2E3-4071-9668-98E776138637}" type="presParOf" srcId="{5D161629-6A5F-469B-B87E-42927C448251}" destId="{50336752-6716-4D40-8E3F-9E1D7E9F7F76}" srcOrd="1" destOrd="0" presId="urn:microsoft.com/office/officeart/2018/2/layout/IconLabelList"/>
    <dgm:cxn modelId="{F2CBEFCD-A4AD-4200-A60E-87505D244B67}" type="presParOf" srcId="{5D161629-6A5F-469B-B87E-42927C448251}" destId="{3C1D48FE-8FDC-4133-BDBA-78D55C6FC5B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9281D8-99D5-4593-AFE1-1AC19B82E926}"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52D6DF3A-C2F7-40DE-8F0E-EC8A14B7DE16}">
      <dgm:prSet/>
      <dgm:spPr/>
      <dgm:t>
        <a:bodyPr/>
        <a:lstStyle/>
        <a:p>
          <a:pPr>
            <a:lnSpc>
              <a:spcPct val="100000"/>
            </a:lnSpc>
            <a:defRPr cap="all"/>
          </a:pPr>
          <a:r>
            <a:rPr lang="en-US"/>
            <a:t>Data Driven Decisions</a:t>
          </a:r>
        </a:p>
      </dgm:t>
    </dgm:pt>
    <dgm:pt modelId="{30E0FA3E-4ACC-484C-978B-C3FE4CFD430D}" type="parTrans" cxnId="{C28C428D-FCB9-42DE-9073-2B4C6ABBA254}">
      <dgm:prSet/>
      <dgm:spPr/>
      <dgm:t>
        <a:bodyPr/>
        <a:lstStyle/>
        <a:p>
          <a:endParaRPr lang="en-US"/>
        </a:p>
      </dgm:t>
    </dgm:pt>
    <dgm:pt modelId="{F483DE92-5A99-4EFE-A5A1-0A9CEE209D8A}" type="sibTrans" cxnId="{C28C428D-FCB9-42DE-9073-2B4C6ABBA254}">
      <dgm:prSet/>
      <dgm:spPr/>
      <dgm:t>
        <a:bodyPr/>
        <a:lstStyle/>
        <a:p>
          <a:endParaRPr lang="en-US"/>
        </a:p>
      </dgm:t>
    </dgm:pt>
    <dgm:pt modelId="{C475115D-CD70-4EA7-8917-6D3942199F46}">
      <dgm:prSet/>
      <dgm:spPr/>
      <dgm:t>
        <a:bodyPr/>
        <a:lstStyle/>
        <a:p>
          <a:pPr>
            <a:lnSpc>
              <a:spcPct val="100000"/>
            </a:lnSpc>
            <a:defRPr cap="all"/>
          </a:pPr>
          <a:r>
            <a:rPr lang="en-US"/>
            <a:t>Business Impact</a:t>
          </a:r>
        </a:p>
      </dgm:t>
    </dgm:pt>
    <dgm:pt modelId="{10DF3A73-5D5D-48EC-96DF-9C6FD630CC4A}" type="parTrans" cxnId="{B925BBAC-5A3C-4422-92C5-D6A7C18E6407}">
      <dgm:prSet/>
      <dgm:spPr/>
      <dgm:t>
        <a:bodyPr/>
        <a:lstStyle/>
        <a:p>
          <a:endParaRPr lang="en-US"/>
        </a:p>
      </dgm:t>
    </dgm:pt>
    <dgm:pt modelId="{A554F61C-4FDD-419C-9EFC-0280F495656E}" type="sibTrans" cxnId="{B925BBAC-5A3C-4422-92C5-D6A7C18E6407}">
      <dgm:prSet/>
      <dgm:spPr/>
      <dgm:t>
        <a:bodyPr/>
        <a:lstStyle/>
        <a:p>
          <a:endParaRPr lang="en-US"/>
        </a:p>
      </dgm:t>
    </dgm:pt>
    <dgm:pt modelId="{ED01B15E-4248-47CB-ADFD-C4A4782B5D00}" type="pres">
      <dgm:prSet presAssocID="{629281D8-99D5-4593-AFE1-1AC19B82E926}" presName="root" presStyleCnt="0">
        <dgm:presLayoutVars>
          <dgm:dir/>
          <dgm:resizeHandles val="exact"/>
        </dgm:presLayoutVars>
      </dgm:prSet>
      <dgm:spPr/>
    </dgm:pt>
    <dgm:pt modelId="{E31906E6-3EF6-41E8-9C65-83C16013A8DA}" type="pres">
      <dgm:prSet presAssocID="{52D6DF3A-C2F7-40DE-8F0E-EC8A14B7DE16}" presName="compNode" presStyleCnt="0"/>
      <dgm:spPr/>
    </dgm:pt>
    <dgm:pt modelId="{5EACB927-42E7-4F92-AF50-C5234F7EC5C3}" type="pres">
      <dgm:prSet presAssocID="{52D6DF3A-C2F7-40DE-8F0E-EC8A14B7DE16}" presName="iconBgRect" presStyleLbl="bgShp" presStyleIdx="0" presStyleCnt="2"/>
      <dgm:spPr/>
    </dgm:pt>
    <dgm:pt modelId="{DC6F2F37-CA91-4F66-AD72-F329E968F882}" type="pres">
      <dgm:prSet presAssocID="{52D6DF3A-C2F7-40DE-8F0E-EC8A14B7DE16}"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02796CB2-97EA-4E42-80FD-6430C5A32063}" type="pres">
      <dgm:prSet presAssocID="{52D6DF3A-C2F7-40DE-8F0E-EC8A14B7DE16}" presName="spaceRect" presStyleCnt="0"/>
      <dgm:spPr/>
    </dgm:pt>
    <dgm:pt modelId="{C5828703-4CE7-4F38-8923-A1E51B2B2559}" type="pres">
      <dgm:prSet presAssocID="{52D6DF3A-C2F7-40DE-8F0E-EC8A14B7DE16}" presName="textRect" presStyleLbl="revTx" presStyleIdx="0" presStyleCnt="2">
        <dgm:presLayoutVars>
          <dgm:chMax val="1"/>
          <dgm:chPref val="1"/>
        </dgm:presLayoutVars>
      </dgm:prSet>
      <dgm:spPr/>
    </dgm:pt>
    <dgm:pt modelId="{FC3B96A0-0FCB-4482-B7AB-06E74CC79B56}" type="pres">
      <dgm:prSet presAssocID="{F483DE92-5A99-4EFE-A5A1-0A9CEE209D8A}" presName="sibTrans" presStyleCnt="0"/>
      <dgm:spPr/>
    </dgm:pt>
    <dgm:pt modelId="{F4A64899-AB9D-4A59-BB58-E97B66089EEC}" type="pres">
      <dgm:prSet presAssocID="{C475115D-CD70-4EA7-8917-6D3942199F46}" presName="compNode" presStyleCnt="0"/>
      <dgm:spPr/>
    </dgm:pt>
    <dgm:pt modelId="{8F73C857-12EE-4659-BF4C-954F21E5FF36}" type="pres">
      <dgm:prSet presAssocID="{C475115D-CD70-4EA7-8917-6D3942199F46}" presName="iconBgRect" presStyleLbl="bgShp" presStyleIdx="1" presStyleCnt="2"/>
      <dgm:spPr/>
    </dgm:pt>
    <dgm:pt modelId="{7BF1F77D-80A2-4A17-B704-9EC275A53700}" type="pres">
      <dgm:prSet presAssocID="{C475115D-CD70-4EA7-8917-6D3942199F4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B78E482A-7D18-41A9-9BFC-0987F90D2314}" type="pres">
      <dgm:prSet presAssocID="{C475115D-CD70-4EA7-8917-6D3942199F46}" presName="spaceRect" presStyleCnt="0"/>
      <dgm:spPr/>
    </dgm:pt>
    <dgm:pt modelId="{863747E9-05FB-4653-B542-D741B801990B}" type="pres">
      <dgm:prSet presAssocID="{C475115D-CD70-4EA7-8917-6D3942199F46}" presName="textRect" presStyleLbl="revTx" presStyleIdx="1" presStyleCnt="2">
        <dgm:presLayoutVars>
          <dgm:chMax val="1"/>
          <dgm:chPref val="1"/>
        </dgm:presLayoutVars>
      </dgm:prSet>
      <dgm:spPr/>
    </dgm:pt>
  </dgm:ptLst>
  <dgm:cxnLst>
    <dgm:cxn modelId="{C28C428D-FCB9-42DE-9073-2B4C6ABBA254}" srcId="{629281D8-99D5-4593-AFE1-1AC19B82E926}" destId="{52D6DF3A-C2F7-40DE-8F0E-EC8A14B7DE16}" srcOrd="0" destOrd="0" parTransId="{30E0FA3E-4ACC-484C-978B-C3FE4CFD430D}" sibTransId="{F483DE92-5A99-4EFE-A5A1-0A9CEE209D8A}"/>
    <dgm:cxn modelId="{B925BBAC-5A3C-4422-92C5-D6A7C18E6407}" srcId="{629281D8-99D5-4593-AFE1-1AC19B82E926}" destId="{C475115D-CD70-4EA7-8917-6D3942199F46}" srcOrd="1" destOrd="0" parTransId="{10DF3A73-5D5D-48EC-96DF-9C6FD630CC4A}" sibTransId="{A554F61C-4FDD-419C-9EFC-0280F495656E}"/>
    <dgm:cxn modelId="{1E4235B5-6750-45F7-9596-266FB15B6A36}" type="presOf" srcId="{52D6DF3A-C2F7-40DE-8F0E-EC8A14B7DE16}" destId="{C5828703-4CE7-4F38-8923-A1E51B2B2559}" srcOrd="0" destOrd="0" presId="urn:microsoft.com/office/officeart/2018/5/layout/IconCircleLabelList"/>
    <dgm:cxn modelId="{FF851DC4-681A-44A9-82C0-494618796C74}" type="presOf" srcId="{629281D8-99D5-4593-AFE1-1AC19B82E926}" destId="{ED01B15E-4248-47CB-ADFD-C4A4782B5D00}" srcOrd="0" destOrd="0" presId="urn:microsoft.com/office/officeart/2018/5/layout/IconCircleLabelList"/>
    <dgm:cxn modelId="{6B9F5ADD-264A-408C-9A32-2A0F07FE9D9B}" type="presOf" srcId="{C475115D-CD70-4EA7-8917-6D3942199F46}" destId="{863747E9-05FB-4653-B542-D741B801990B}" srcOrd="0" destOrd="0" presId="urn:microsoft.com/office/officeart/2018/5/layout/IconCircleLabelList"/>
    <dgm:cxn modelId="{18DFC261-714C-44A6-9C16-B0EA30C98B21}" type="presParOf" srcId="{ED01B15E-4248-47CB-ADFD-C4A4782B5D00}" destId="{E31906E6-3EF6-41E8-9C65-83C16013A8DA}" srcOrd="0" destOrd="0" presId="urn:microsoft.com/office/officeart/2018/5/layout/IconCircleLabelList"/>
    <dgm:cxn modelId="{C2764CA1-59B5-436B-9605-CAA6CA3DD161}" type="presParOf" srcId="{E31906E6-3EF6-41E8-9C65-83C16013A8DA}" destId="{5EACB927-42E7-4F92-AF50-C5234F7EC5C3}" srcOrd="0" destOrd="0" presId="urn:microsoft.com/office/officeart/2018/5/layout/IconCircleLabelList"/>
    <dgm:cxn modelId="{1727643E-4635-42B6-9F7F-33D0BB4E3CA5}" type="presParOf" srcId="{E31906E6-3EF6-41E8-9C65-83C16013A8DA}" destId="{DC6F2F37-CA91-4F66-AD72-F329E968F882}" srcOrd="1" destOrd="0" presId="urn:microsoft.com/office/officeart/2018/5/layout/IconCircleLabelList"/>
    <dgm:cxn modelId="{83150CC0-D2ED-4B36-ADBC-92B30E07DE88}" type="presParOf" srcId="{E31906E6-3EF6-41E8-9C65-83C16013A8DA}" destId="{02796CB2-97EA-4E42-80FD-6430C5A32063}" srcOrd="2" destOrd="0" presId="urn:microsoft.com/office/officeart/2018/5/layout/IconCircleLabelList"/>
    <dgm:cxn modelId="{CB0570F0-0B53-48E3-B7C2-AB43E55B85AC}" type="presParOf" srcId="{E31906E6-3EF6-41E8-9C65-83C16013A8DA}" destId="{C5828703-4CE7-4F38-8923-A1E51B2B2559}" srcOrd="3" destOrd="0" presId="urn:microsoft.com/office/officeart/2018/5/layout/IconCircleLabelList"/>
    <dgm:cxn modelId="{6F83CEC0-1663-4ED4-8E82-24DAF73F4009}" type="presParOf" srcId="{ED01B15E-4248-47CB-ADFD-C4A4782B5D00}" destId="{FC3B96A0-0FCB-4482-B7AB-06E74CC79B56}" srcOrd="1" destOrd="0" presId="urn:microsoft.com/office/officeart/2018/5/layout/IconCircleLabelList"/>
    <dgm:cxn modelId="{418FB67A-B8E4-41A3-9D47-95CA3A18DDCC}" type="presParOf" srcId="{ED01B15E-4248-47CB-ADFD-C4A4782B5D00}" destId="{F4A64899-AB9D-4A59-BB58-E97B66089EEC}" srcOrd="2" destOrd="0" presId="urn:microsoft.com/office/officeart/2018/5/layout/IconCircleLabelList"/>
    <dgm:cxn modelId="{A3F84DEB-01CC-4BEE-BF33-05A8A8719B95}" type="presParOf" srcId="{F4A64899-AB9D-4A59-BB58-E97B66089EEC}" destId="{8F73C857-12EE-4659-BF4C-954F21E5FF36}" srcOrd="0" destOrd="0" presId="urn:microsoft.com/office/officeart/2018/5/layout/IconCircleLabelList"/>
    <dgm:cxn modelId="{57BD33E4-5EB6-4298-BA38-91071553510C}" type="presParOf" srcId="{F4A64899-AB9D-4A59-BB58-E97B66089EEC}" destId="{7BF1F77D-80A2-4A17-B704-9EC275A53700}" srcOrd="1" destOrd="0" presId="urn:microsoft.com/office/officeart/2018/5/layout/IconCircleLabelList"/>
    <dgm:cxn modelId="{DD40763F-A3CD-400A-A569-6308A906FCFF}" type="presParOf" srcId="{F4A64899-AB9D-4A59-BB58-E97B66089EEC}" destId="{B78E482A-7D18-41A9-9BFC-0987F90D2314}" srcOrd="2" destOrd="0" presId="urn:microsoft.com/office/officeart/2018/5/layout/IconCircleLabelList"/>
    <dgm:cxn modelId="{D8A36D81-47B8-4ADA-ABB6-0DD9C57B1F3B}" type="presParOf" srcId="{F4A64899-AB9D-4A59-BB58-E97B66089EEC}" destId="{863747E9-05FB-4653-B542-D741B801990B}"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AC2D3C-6D64-4855-97DF-15E34B407443}">
      <dsp:nvSpPr>
        <dsp:cNvPr id="0" name=""/>
        <dsp:cNvSpPr/>
      </dsp:nvSpPr>
      <dsp:spPr>
        <a:xfrm>
          <a:off x="6234" y="645174"/>
          <a:ext cx="1179773" cy="11797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B47C061-7660-4258-A386-26C2D47BF0E5}">
      <dsp:nvSpPr>
        <dsp:cNvPr id="0" name=""/>
        <dsp:cNvSpPr/>
      </dsp:nvSpPr>
      <dsp:spPr>
        <a:xfrm>
          <a:off x="6234"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dirty="0">
              <a:latin typeface="Calibri Light"/>
              <a:cs typeface="Calibri Light"/>
            </a:rPr>
            <a:t>Customer Churn</a:t>
          </a:r>
          <a:endParaRPr lang="en-US" sz="3200" kern="1200" dirty="0">
            <a:latin typeface="Calibri Light"/>
            <a:cs typeface="Calibri Light"/>
          </a:endParaRPr>
        </a:p>
      </dsp:txBody>
      <dsp:txXfrm>
        <a:off x="6234" y="1969335"/>
        <a:ext cx="3370781" cy="505617"/>
      </dsp:txXfrm>
    </dsp:sp>
    <dsp:sp modelId="{B27C2446-D161-4B06-A46F-2E309FCD9D6D}">
      <dsp:nvSpPr>
        <dsp:cNvPr id="0" name=""/>
        <dsp:cNvSpPr/>
      </dsp:nvSpPr>
      <dsp:spPr>
        <a:xfrm>
          <a:off x="6234"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A significant hurdle in the credit card industry.</a:t>
          </a:r>
          <a:endParaRPr lang="en-US" sz="1700" b="0" kern="1200" dirty="0">
            <a:latin typeface="Calibri Light"/>
            <a:cs typeface="Calibri Light"/>
          </a:endParaRPr>
        </a:p>
      </dsp:txBody>
      <dsp:txXfrm>
        <a:off x="6234" y="2542109"/>
        <a:ext cx="3370781" cy="1460915"/>
      </dsp:txXfrm>
    </dsp:sp>
    <dsp:sp modelId="{48CD9C2B-7E0F-4D74-8864-2E5947D68815}">
      <dsp:nvSpPr>
        <dsp:cNvPr id="0" name=""/>
        <dsp:cNvSpPr/>
      </dsp:nvSpPr>
      <dsp:spPr>
        <a:xfrm>
          <a:off x="3966902" y="645174"/>
          <a:ext cx="1179773" cy="117977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5EA6F2-0647-4FD0-BF9C-D23D12ED8C92}">
      <dsp:nvSpPr>
        <dsp:cNvPr id="0" name=""/>
        <dsp:cNvSpPr/>
      </dsp:nvSpPr>
      <dsp:spPr>
        <a:xfrm>
          <a:off x="3966902"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Impact on Business</a:t>
          </a:r>
          <a:endParaRPr lang="en-US" sz="3200" b="0" kern="1200" dirty="0">
            <a:latin typeface="Calibri Light"/>
            <a:cs typeface="Calibri Light"/>
          </a:endParaRPr>
        </a:p>
      </dsp:txBody>
      <dsp:txXfrm>
        <a:off x="3966902" y="1969335"/>
        <a:ext cx="3370781" cy="505617"/>
      </dsp:txXfrm>
    </dsp:sp>
    <dsp:sp modelId="{5BB1557D-9BBB-4713-864E-D8C2346A08B4}">
      <dsp:nvSpPr>
        <dsp:cNvPr id="0" name=""/>
        <dsp:cNvSpPr/>
      </dsp:nvSpPr>
      <dsp:spPr>
        <a:xfrm>
          <a:off x="3966902"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High churn rates can negatively affect customer loyalty, brand reputation, and long-term revenue growth.</a:t>
          </a:r>
          <a:endParaRPr lang="en-US" sz="1700" kern="1200" dirty="0">
            <a:latin typeface="Calibri Light"/>
            <a:cs typeface="Calibri Light"/>
          </a:endParaRPr>
        </a:p>
      </dsp:txBody>
      <dsp:txXfrm>
        <a:off x="3966902" y="2542109"/>
        <a:ext cx="3370781" cy="1460915"/>
      </dsp:txXfrm>
    </dsp:sp>
    <dsp:sp modelId="{4904ED1F-9F59-47F4-9798-B81874B1E50F}">
      <dsp:nvSpPr>
        <dsp:cNvPr id="0" name=""/>
        <dsp:cNvSpPr/>
      </dsp:nvSpPr>
      <dsp:spPr>
        <a:xfrm>
          <a:off x="7927570" y="645174"/>
          <a:ext cx="1179773" cy="117977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15FDB27-8C17-4198-B85E-07149E1148B0}">
      <dsp:nvSpPr>
        <dsp:cNvPr id="0" name=""/>
        <dsp:cNvSpPr/>
      </dsp:nvSpPr>
      <dsp:spPr>
        <a:xfrm>
          <a:off x="7927570"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Predictive Modeling</a:t>
          </a:r>
          <a:endParaRPr lang="en-US" sz="3200" kern="1200" dirty="0">
            <a:latin typeface="Calibri Light"/>
            <a:cs typeface="Calibri Light"/>
          </a:endParaRPr>
        </a:p>
      </dsp:txBody>
      <dsp:txXfrm>
        <a:off x="7927570" y="1969335"/>
        <a:ext cx="3370781" cy="505617"/>
      </dsp:txXfrm>
    </dsp:sp>
    <dsp:sp modelId="{CE945595-8868-44D0-84F9-6D754AB33CBB}">
      <dsp:nvSpPr>
        <dsp:cNvPr id="0" name=""/>
        <dsp:cNvSpPr/>
      </dsp:nvSpPr>
      <dsp:spPr>
        <a:xfrm>
          <a:off x="7927570"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dirty="0">
              <a:latin typeface="Calibri Light"/>
              <a:cs typeface="Calibri Light"/>
            </a:rPr>
            <a:t> </a:t>
          </a:r>
          <a:r>
            <a:rPr lang="en-US" sz="1700" kern="1200" dirty="0">
              <a:solidFill>
                <a:srgbClr val="000000"/>
              </a:solidFill>
              <a:latin typeface="Calibri Light"/>
              <a:ea typeface="open sans"/>
              <a:cs typeface="Calibri Light"/>
            </a:rPr>
            <a:t>- Adopting</a:t>
          </a:r>
          <a:r>
            <a:rPr lang="en-US" sz="1700" b="0" kern="1200" dirty="0">
              <a:solidFill>
                <a:srgbClr val="000000"/>
              </a:solidFill>
              <a:latin typeface="Calibri Light"/>
              <a:ea typeface="open sans"/>
              <a:cs typeface="Calibri Light"/>
            </a:rPr>
            <a:t> predictive modeling is necessary to refine and enhance our approach to better address the challenge.</a:t>
          </a:r>
          <a:r>
            <a:rPr lang="en-US" sz="1700" b="0" kern="1200" dirty="0">
              <a:solidFill>
                <a:srgbClr val="000000"/>
              </a:solidFill>
              <a:latin typeface="Calibri Light"/>
              <a:ea typeface="open sans"/>
              <a:cs typeface="Arial"/>
            </a:rPr>
            <a:t> </a:t>
          </a:r>
          <a:endParaRPr lang="en-US" sz="1700" b="1" kern="1200" dirty="0">
            <a:solidFill>
              <a:srgbClr val="000000"/>
            </a:solidFill>
            <a:latin typeface="open sans"/>
            <a:ea typeface="open sans"/>
            <a:cs typeface="open sans"/>
          </a:endParaRPr>
        </a:p>
        <a:p>
          <a:pPr marL="0" lvl="0" indent="0" algn="l" defTabSz="755650">
            <a:lnSpc>
              <a:spcPct val="100000"/>
            </a:lnSpc>
            <a:spcBef>
              <a:spcPct val="0"/>
            </a:spcBef>
            <a:spcAft>
              <a:spcPct val="35000"/>
            </a:spcAft>
            <a:buNone/>
          </a:pPr>
          <a:endParaRPr lang="en-US" sz="1700" kern="1200" dirty="0">
            <a:cs typeface="Arial"/>
          </a:endParaRPr>
        </a:p>
      </dsp:txBody>
      <dsp:txXfrm>
        <a:off x="7927570" y="2542109"/>
        <a:ext cx="3370781" cy="14609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76FC7-E22E-423E-803B-5600EFA3D75C}">
      <dsp:nvSpPr>
        <dsp:cNvPr id="0" name=""/>
        <dsp:cNvSpPr/>
      </dsp:nvSpPr>
      <dsp:spPr>
        <a:xfrm>
          <a:off x="954000" y="697507"/>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5470FB-6C1E-4742-A273-419E56CFC9D6}">
      <dsp:nvSpPr>
        <dsp:cNvPr id="0" name=""/>
        <dsp:cNvSpPr/>
      </dsp:nvSpPr>
      <dsp:spPr>
        <a:xfrm>
          <a:off x="954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a:cs typeface="Calibri"/>
            </a:rPr>
            <a:t>Predictive Modeling</a:t>
          </a:r>
          <a:endParaRPr lang="en-US" sz="3600" b="0" kern="1200">
            <a:latin typeface="Calibri Light"/>
            <a:cs typeface="Calibri Light"/>
          </a:endParaRPr>
        </a:p>
      </dsp:txBody>
      <dsp:txXfrm>
        <a:off x="954000" y="2349213"/>
        <a:ext cx="4320000" cy="648000"/>
      </dsp:txXfrm>
    </dsp:sp>
    <dsp:sp modelId="{26519CFC-B413-4A93-B8C3-61BD001D8332}">
      <dsp:nvSpPr>
        <dsp:cNvPr id="0" name=""/>
        <dsp:cNvSpPr/>
      </dsp:nvSpPr>
      <dsp:spPr>
        <a:xfrm>
          <a:off x="954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Identify and capture which customers at risk of churning. </a:t>
          </a:r>
          <a:endParaRPr lang="en-US" sz="1700" b="0" kern="1200" dirty="0">
            <a:latin typeface="Calibri Light"/>
            <a:cs typeface="Calibri Light"/>
          </a:endParaRPr>
        </a:p>
        <a:p>
          <a:pPr marL="0" lvl="0" indent="0" algn="l" defTabSz="755650">
            <a:lnSpc>
              <a:spcPct val="100000"/>
            </a:lnSpc>
            <a:spcBef>
              <a:spcPct val="0"/>
            </a:spcBef>
            <a:spcAft>
              <a:spcPct val="35000"/>
            </a:spcAft>
            <a:buNone/>
          </a:pPr>
          <a:r>
            <a:rPr lang="en-US" sz="1700" b="0" kern="1200" dirty="0">
              <a:latin typeface="Calibri Light"/>
              <a:cs typeface="Arial"/>
            </a:rPr>
            <a:t> - For understanding overall experience.</a:t>
          </a:r>
        </a:p>
      </dsp:txBody>
      <dsp:txXfrm>
        <a:off x="954000" y="3062193"/>
        <a:ext cx="4320000" cy="884299"/>
      </dsp:txXfrm>
    </dsp:sp>
    <dsp:sp modelId="{03A39FC2-04A4-4D67-AD72-9F9C52A64B7E}">
      <dsp:nvSpPr>
        <dsp:cNvPr id="0" name=""/>
        <dsp:cNvSpPr/>
      </dsp:nvSpPr>
      <dsp:spPr>
        <a:xfrm>
          <a:off x="6030000" y="697507"/>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B879B7D-2379-4F8B-B6F0-B211E25194B4}">
      <dsp:nvSpPr>
        <dsp:cNvPr id="0" name=""/>
        <dsp:cNvSpPr/>
      </dsp:nvSpPr>
      <dsp:spPr>
        <a:xfrm>
          <a:off x="6030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Light"/>
              <a:cs typeface="Calibri Light"/>
            </a:rPr>
            <a:t>Strategic Advantage</a:t>
          </a:r>
          <a:endParaRPr lang="en-US" sz="3600" kern="1200"/>
        </a:p>
      </dsp:txBody>
      <dsp:txXfrm>
        <a:off x="6030000" y="2349213"/>
        <a:ext cx="4320000" cy="648000"/>
      </dsp:txXfrm>
    </dsp:sp>
    <dsp:sp modelId="{704E6F2F-D915-4EAA-8359-F939D87AC2C0}">
      <dsp:nvSpPr>
        <dsp:cNvPr id="0" name=""/>
        <dsp:cNvSpPr/>
      </dsp:nvSpPr>
      <dsp:spPr>
        <a:xfrm>
          <a:off x="6030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latin typeface="Calibri Light"/>
              <a:cs typeface="Arial"/>
            </a:rPr>
            <a:t> - Strengthen the industry's market position. </a:t>
          </a:r>
          <a:endParaRPr lang="en-US" sz="1700" kern="1200">
            <a:latin typeface="Calibri Light"/>
            <a:cs typeface="Calibri Light"/>
          </a:endParaRPr>
        </a:p>
        <a:p>
          <a:pPr marL="0" lvl="0" indent="0" algn="l" defTabSz="755650">
            <a:lnSpc>
              <a:spcPct val="100000"/>
            </a:lnSpc>
            <a:spcBef>
              <a:spcPct val="0"/>
            </a:spcBef>
            <a:spcAft>
              <a:spcPct val="35000"/>
            </a:spcAft>
            <a:buNone/>
          </a:pPr>
          <a:r>
            <a:rPr lang="en-US" sz="1700" kern="1200">
              <a:latin typeface="Calibri Light"/>
              <a:cs typeface="Arial"/>
            </a:rPr>
            <a:t> - It is Less expensive to retain customers than to acquire new ones.</a:t>
          </a:r>
        </a:p>
      </dsp:txBody>
      <dsp:txXfrm>
        <a:off x="6030000" y="3062193"/>
        <a:ext cx="4320000" cy="8842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EA42A-C1B5-4965-B225-591B312C758E}">
      <dsp:nvSpPr>
        <dsp:cNvPr id="0" name=""/>
        <dsp:cNvSpPr/>
      </dsp:nvSpPr>
      <dsp:spPr>
        <a:xfrm>
          <a:off x="893925" y="1264710"/>
          <a:ext cx="1077300" cy="10773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50DF49-3295-4160-9EF9-13A61905D156}">
      <dsp:nvSpPr>
        <dsp:cNvPr id="0" name=""/>
        <dsp:cNvSpPr/>
      </dsp:nvSpPr>
      <dsp:spPr>
        <a:xfrm>
          <a:off x="2355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b="0" kern="1200"/>
            <a:t>Logistic regression (baseline model)</a:t>
          </a:r>
          <a:endParaRPr lang="en-US" sz="2300" kern="1200"/>
        </a:p>
      </dsp:txBody>
      <dsp:txXfrm>
        <a:off x="235575" y="2659289"/>
        <a:ext cx="2394000" cy="720000"/>
      </dsp:txXfrm>
    </dsp:sp>
    <dsp:sp modelId="{CF7B3429-75AE-4116-BEB9-F7D8606E9F8D}">
      <dsp:nvSpPr>
        <dsp:cNvPr id="0" name=""/>
        <dsp:cNvSpPr/>
      </dsp:nvSpPr>
      <dsp:spPr>
        <a:xfrm>
          <a:off x="3706875" y="1264710"/>
          <a:ext cx="1077300" cy="10773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F3CA5F-E7EC-42E1-BD73-943B7847A23D}">
      <dsp:nvSpPr>
        <dsp:cNvPr id="0" name=""/>
        <dsp:cNvSpPr/>
      </dsp:nvSpPr>
      <dsp:spPr>
        <a:xfrm>
          <a:off x="30485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Decision tree </a:t>
          </a:r>
        </a:p>
      </dsp:txBody>
      <dsp:txXfrm>
        <a:off x="3048525" y="2659289"/>
        <a:ext cx="2394000" cy="720000"/>
      </dsp:txXfrm>
    </dsp:sp>
    <dsp:sp modelId="{117A2E51-0246-4D08-B374-F2129C2168BB}">
      <dsp:nvSpPr>
        <dsp:cNvPr id="0" name=""/>
        <dsp:cNvSpPr/>
      </dsp:nvSpPr>
      <dsp:spPr>
        <a:xfrm>
          <a:off x="6519824" y="1264710"/>
          <a:ext cx="1077300" cy="10773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0FC2ECC-A945-4628-A5AD-4802C2582279}">
      <dsp:nvSpPr>
        <dsp:cNvPr id="0" name=""/>
        <dsp:cNvSpPr/>
      </dsp:nvSpPr>
      <dsp:spPr>
        <a:xfrm>
          <a:off x="58614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K-Nearest Neighbor</a:t>
          </a:r>
        </a:p>
      </dsp:txBody>
      <dsp:txXfrm>
        <a:off x="5861475" y="2659289"/>
        <a:ext cx="2394000" cy="720000"/>
      </dsp:txXfrm>
    </dsp:sp>
    <dsp:sp modelId="{2A96DEA7-7C98-4B66-9ECC-E1A663A659FD}">
      <dsp:nvSpPr>
        <dsp:cNvPr id="0" name=""/>
        <dsp:cNvSpPr/>
      </dsp:nvSpPr>
      <dsp:spPr>
        <a:xfrm>
          <a:off x="9332774" y="1264710"/>
          <a:ext cx="1077300" cy="10773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C1D48FE-8FDC-4133-BDBA-78D55C6FC5B1}">
      <dsp:nvSpPr>
        <dsp:cNvPr id="0" name=""/>
        <dsp:cNvSpPr/>
      </dsp:nvSpPr>
      <dsp:spPr>
        <a:xfrm>
          <a:off x="86744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Random forest</a:t>
          </a:r>
        </a:p>
      </dsp:txBody>
      <dsp:txXfrm>
        <a:off x="8674425" y="2659289"/>
        <a:ext cx="239400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CB927-42E7-4F92-AF50-C5234F7EC5C3}">
      <dsp:nvSpPr>
        <dsp:cNvPr id="0" name=""/>
        <dsp:cNvSpPr/>
      </dsp:nvSpPr>
      <dsp:spPr>
        <a:xfrm>
          <a:off x="211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6F2F37-CA91-4F66-AD72-F329E968F882}">
      <dsp:nvSpPr>
        <dsp:cNvPr id="0" name=""/>
        <dsp:cNvSpPr/>
      </dsp:nvSpPr>
      <dsp:spPr>
        <a:xfrm>
          <a:off x="2586324" y="706938"/>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5828703-4CE7-4F38-8923-A1E51B2B2559}">
      <dsp:nvSpPr>
        <dsp:cNvPr id="0" name=""/>
        <dsp:cNvSpPr/>
      </dsp:nvSpPr>
      <dsp:spPr>
        <a:xfrm>
          <a:off x="141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Data Driven Decisions</a:t>
          </a:r>
        </a:p>
      </dsp:txBody>
      <dsp:txXfrm>
        <a:off x="1416324" y="3118939"/>
        <a:ext cx="3600000" cy="720000"/>
      </dsp:txXfrm>
    </dsp:sp>
    <dsp:sp modelId="{8F73C857-12EE-4659-BF4C-954F21E5FF36}">
      <dsp:nvSpPr>
        <dsp:cNvPr id="0" name=""/>
        <dsp:cNvSpPr/>
      </dsp:nvSpPr>
      <dsp:spPr>
        <a:xfrm>
          <a:off x="634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F1F77D-80A2-4A17-B704-9EC275A53700}">
      <dsp:nvSpPr>
        <dsp:cNvPr id="0" name=""/>
        <dsp:cNvSpPr/>
      </dsp:nvSpPr>
      <dsp:spPr>
        <a:xfrm>
          <a:off x="6816324" y="706938"/>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3747E9-05FB-4653-B542-D741B801990B}">
      <dsp:nvSpPr>
        <dsp:cNvPr id="0" name=""/>
        <dsp:cNvSpPr/>
      </dsp:nvSpPr>
      <dsp:spPr>
        <a:xfrm>
          <a:off x="564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Business Impact</a:t>
          </a:r>
        </a:p>
      </dsp:txBody>
      <dsp:txXfrm>
        <a:off x="5646324" y="3118939"/>
        <a:ext cx="36000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2/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2/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258139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a:latin typeface="Calibri"/>
                <a:ea typeface="Calibri"/>
                <a:cs typeface="Calibri"/>
              </a:rPr>
              <a:t>Placeholder</a:t>
            </a:r>
          </a:p>
          <a:p>
            <a:r>
              <a:rPr lang="en-US">
                <a:latin typeface="Arial"/>
                <a:cs typeface="Arial"/>
              </a:rPr>
              <a:t>Predictive Modeling: </a:t>
            </a:r>
            <a:r>
              <a:rPr lang="en-US" err="1">
                <a:latin typeface="Arial"/>
                <a:cs typeface="Arial"/>
              </a:rPr>
              <a:t>LoyalLock</a:t>
            </a:r>
            <a:r>
              <a:rPr lang="en-US">
                <a:latin typeface="Arial"/>
                <a:cs typeface="Arial"/>
              </a:rPr>
              <a:t> doesn't just identify potential customer churn; it can also helps to understand how to proactively address it. By predicting which customers are likely to churn, we can take that preemptive action to engage them and address their concerns before they decide to leave. ( Go into our models ) </a:t>
            </a:r>
          </a:p>
          <a:p>
            <a:endParaRPr lang="en-US">
              <a:latin typeface="Arial"/>
              <a:cs typeface="Arial"/>
            </a:endParaRPr>
          </a:p>
          <a:p>
            <a:r>
              <a:rPr lang="en-US">
                <a:latin typeface="Arial"/>
                <a:cs typeface="Arial"/>
              </a:rPr>
              <a:t>It was made 4 models to compare the prediction results of customer churn, the baseline model which was a Logistic regression, helps to determine a base result where the other models can improve that prediction, this models was sorted by their complexity, talking about configurations and </a:t>
            </a:r>
            <a:r>
              <a:rPr lang="en-US" err="1">
                <a:latin typeface="Arial"/>
                <a:cs typeface="Arial"/>
              </a:rPr>
              <a:t>maths</a:t>
            </a:r>
            <a:r>
              <a:rPr lang="en-US">
                <a:latin typeface="Arial"/>
                <a:cs typeface="Arial"/>
              </a:rPr>
              <a:t> used. The best performance was from Decision tree which have 94% of precision and 83% of accuracy.</a:t>
            </a:r>
          </a:p>
          <a:p>
            <a:endParaRPr lang="en-US">
              <a:latin typeface="Arial"/>
              <a:cs typeface="Arial"/>
            </a:endParaRPr>
          </a:p>
          <a:p>
            <a:r>
              <a:rPr lang="en-US">
                <a:latin typeface="Arial"/>
                <a:cs typeface="Arial"/>
              </a:rPr>
              <a:t>Feedback:</a:t>
            </a:r>
          </a:p>
          <a:p>
            <a:endParaRPr lang="en-US">
              <a:latin typeface="Arial"/>
              <a:cs typeface="Arial"/>
            </a:endParaRPr>
          </a:p>
          <a:p>
            <a:r>
              <a:rPr lang="en-US">
                <a:latin typeface="Arial"/>
                <a:cs typeface="Arial"/>
              </a:rPr>
              <a:t>Add the precision vs accuracy to reminder to the audience, say about why we choose that model without a technical side.</a:t>
            </a:r>
          </a:p>
          <a:p>
            <a:r>
              <a:rPr lang="en-US">
                <a:latin typeface="Arial"/>
                <a:cs typeface="Arial"/>
              </a:rPr>
              <a:t>Do not just read the slides, make a combination of both situations.</a:t>
            </a:r>
            <a:endParaRPr lang="en-US">
              <a:cs typeface="Arial"/>
            </a:endParaRPr>
          </a:p>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3014229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spcBef>
                <a:spcPts val="200"/>
              </a:spcBef>
              <a:spcAft>
                <a:spcPts val="200"/>
              </a:spcAft>
            </a:pPr>
            <a:endParaRPr lang="en-US">
              <a:latin typeface="Arial"/>
              <a:cs typeface="Arial"/>
            </a:endParaRPr>
          </a:p>
          <a:p>
            <a:pPr>
              <a:spcBef>
                <a:spcPts val="200"/>
              </a:spcBef>
              <a:spcAft>
                <a:spcPts val="200"/>
              </a:spcAft>
            </a:pPr>
            <a:r>
              <a:rPr lang="en-US">
                <a:latin typeface="Arial"/>
                <a:cs typeface="Arial"/>
              </a:rPr>
              <a:t>Our Solution (</a:t>
            </a:r>
            <a:r>
              <a:rPr lang="en-US" err="1">
                <a:latin typeface="Arial"/>
                <a:cs typeface="Arial"/>
              </a:rPr>
              <a:t>LoyalLock</a:t>
            </a:r>
            <a:r>
              <a:rPr lang="en-US">
                <a:latin typeface="Arial"/>
                <a:cs typeface="Arial"/>
              </a:rPr>
              <a:t>) offers:</a:t>
            </a:r>
          </a:p>
          <a:p>
            <a:pPr>
              <a:spcBef>
                <a:spcPts val="200"/>
              </a:spcBef>
              <a:spcAft>
                <a:spcPts val="200"/>
              </a:spcAft>
            </a:pPr>
            <a:endParaRPr lang="en-US">
              <a:latin typeface="Arial"/>
              <a:cs typeface="Arial"/>
            </a:endParaRPr>
          </a:p>
          <a:p>
            <a:pPr>
              <a:spcBef>
                <a:spcPts val="200"/>
              </a:spcBef>
              <a:spcAft>
                <a:spcPts val="200"/>
              </a:spcAft>
            </a:pPr>
            <a:r>
              <a:rPr lang="en-US">
                <a:latin typeface="Arial"/>
                <a:cs typeface="Arial"/>
              </a:rPr>
              <a:t>Reduced Customer Churn: Our predictive modeling offers the potential to significantly decrease customer churn, leading to increased customer loyalty. Through this process, we aim to not just retain customers but enhance their satisfaction. By understanding their needs and concerns, we can provide a better customer experience, making them more likely to stay with us and less likely to churn.</a:t>
            </a:r>
          </a:p>
          <a:p>
            <a:pPr>
              <a:spcBef>
                <a:spcPts val="200"/>
              </a:spcBef>
              <a:spcAft>
                <a:spcPts val="200"/>
              </a:spcAft>
            </a:pPr>
            <a:endParaRPr lang="en-US">
              <a:latin typeface="Arial"/>
              <a:cs typeface="Arial"/>
            </a:endParaRPr>
          </a:p>
          <a:p>
            <a:pPr>
              <a:spcBef>
                <a:spcPts val="200"/>
              </a:spcBef>
              <a:spcAft>
                <a:spcPts val="200"/>
              </a:spcAft>
            </a:pPr>
            <a:r>
              <a:rPr lang="en-US">
                <a:latin typeface="Arial"/>
                <a:cs typeface="Arial"/>
              </a:rPr>
              <a:t>Informed Decision Making: Our insights can aid in the formulation of more effective customer retention strategies and operational improvements.</a:t>
            </a:r>
          </a:p>
          <a:p>
            <a:pPr>
              <a:spcBef>
                <a:spcPts val="200"/>
              </a:spcBef>
              <a:spcAft>
                <a:spcPts val="200"/>
              </a:spcAft>
            </a:pPr>
            <a:endParaRPr lang="en-US">
              <a:latin typeface="Arial"/>
              <a:cs typeface="Arial"/>
            </a:endParaRPr>
          </a:p>
          <a:p>
            <a:pPr>
              <a:spcBef>
                <a:spcPts val="200"/>
              </a:spcBef>
              <a:spcAft>
                <a:spcPts val="200"/>
              </a:spcAft>
            </a:pPr>
            <a:r>
              <a:rPr lang="en-US">
                <a:latin typeface="Arial"/>
                <a:cs typeface="Arial"/>
              </a:rPr>
              <a:t>Sustainable Revenue Growth: By improving customer retention, we're enhancing the company's financial stability and long-term profitability.</a:t>
            </a:r>
          </a:p>
          <a:p>
            <a:pPr>
              <a:spcBef>
                <a:spcPts val="200"/>
              </a:spcBef>
              <a:spcAft>
                <a:spcPts val="200"/>
              </a:spcAft>
            </a:pPr>
            <a:endParaRPr lang="en-US">
              <a:latin typeface="Arial"/>
              <a:cs typeface="Arial"/>
            </a:endParaRPr>
          </a:p>
          <a:p>
            <a:pPr>
              <a:spcBef>
                <a:spcPts val="200"/>
              </a:spcBef>
              <a:spcAft>
                <a:spcPts val="200"/>
              </a:spcAft>
            </a:pPr>
            <a:r>
              <a:rPr lang="en-US">
                <a:latin typeface="Arial"/>
                <a:cs typeface="Arial"/>
              </a:rPr>
              <a:t>Competitive Advantage: With our predictive analytics, the company can proactively address churn and outperform competitors in customer retention.</a:t>
            </a:r>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801602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a:cs typeface="Arial"/>
              </a:rPr>
              <a:t>Placeholder </a:t>
            </a:r>
          </a:p>
          <a:p>
            <a:r>
              <a:rPr lang="en-US" err="1">
                <a:latin typeface="Arial"/>
                <a:cs typeface="Arial"/>
              </a:rPr>
              <a:t>Wraping</a:t>
            </a:r>
            <a:r>
              <a:rPr lang="en-US">
                <a:latin typeface="Arial"/>
                <a:cs typeface="Arial"/>
              </a:rPr>
              <a:t> up what we have presented (Summary) </a:t>
            </a:r>
          </a:p>
          <a:p>
            <a:pPr marL="171450" indent="-171450">
              <a:spcBef>
                <a:spcPts val="200"/>
              </a:spcBef>
              <a:spcAft>
                <a:spcPts val="200"/>
              </a:spcAft>
              <a:buFont typeface="Arial,Sans-Serif"/>
              <a:buChar char="•"/>
            </a:pPr>
            <a:r>
              <a:rPr lang="en-US">
                <a:latin typeface="Arial"/>
                <a:cs typeface="Arial"/>
              </a:rPr>
              <a:t>Strategic Value: </a:t>
            </a:r>
            <a:r>
              <a:rPr lang="en-US" err="1">
                <a:latin typeface="Arial"/>
                <a:cs typeface="Arial"/>
              </a:rPr>
              <a:t>LoyalLock</a:t>
            </a:r>
            <a:r>
              <a:rPr lang="en-US">
                <a:latin typeface="Arial"/>
                <a:cs typeface="Arial"/>
              </a:rPr>
              <a:t> offers a solution to gain insight on the critical challenge of customer churn in your business.</a:t>
            </a:r>
            <a:endParaRPr lang="en-US">
              <a:cs typeface="Arial"/>
            </a:endParaRPr>
          </a:p>
          <a:p>
            <a:pPr marL="171450" indent="-171450">
              <a:spcBef>
                <a:spcPts val="200"/>
              </a:spcBef>
              <a:spcAft>
                <a:spcPts val="200"/>
              </a:spcAft>
              <a:buFont typeface="Arial,Sans-Serif"/>
              <a:buChar char="•"/>
            </a:pPr>
            <a:r>
              <a:rPr lang="en-US">
                <a:latin typeface="Arial"/>
                <a:cs typeface="Arial"/>
              </a:rPr>
              <a:t>Data-Driven Decisions: Our approach illustrates the power of leveraging customer data to inform and shape effective retention strategies.</a:t>
            </a:r>
          </a:p>
          <a:p>
            <a:pPr marL="171450" indent="-171450">
              <a:spcBef>
                <a:spcPts val="200"/>
              </a:spcBef>
              <a:spcAft>
                <a:spcPts val="200"/>
              </a:spcAft>
              <a:buFont typeface="Arial,Sans-Serif"/>
              <a:buChar char="•"/>
            </a:pPr>
            <a:r>
              <a:rPr lang="en-US">
                <a:latin typeface="Arial"/>
                <a:cs typeface="Arial"/>
              </a:rPr>
              <a:t>Partnership Opportunity: We look forward to our continued collaboration, working closely with you to refine our model and deliver meaningful results.</a:t>
            </a:r>
          </a:p>
          <a:p>
            <a:pPr marL="171450" indent="-171450">
              <a:spcBef>
                <a:spcPts val="200"/>
              </a:spcBef>
              <a:spcAft>
                <a:spcPts val="200"/>
              </a:spcAft>
              <a:buFont typeface="Arial,Sans-Serif"/>
              <a:buChar char="•"/>
            </a:pPr>
            <a:r>
              <a:rPr lang="en-US">
                <a:latin typeface="Arial"/>
                <a:cs typeface="Arial"/>
              </a:rPr>
              <a:t>(</a:t>
            </a:r>
            <a:r>
              <a:rPr lang="en-US" err="1">
                <a:latin typeface="Arial"/>
                <a:cs typeface="Arial"/>
              </a:rPr>
              <a:t>AGaBusiness</a:t>
            </a:r>
            <a:r>
              <a:rPr lang="en-US">
                <a:latin typeface="Arial"/>
                <a:cs typeface="Arial"/>
              </a:rPr>
              <a:t> Impact: By proactively addressing churn, we aim to enhance your financial stability and foster long-term growth.</a:t>
            </a: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1641508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820288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a:t>
            </a:fld>
            <a:endParaRPr lang="en-GB"/>
          </a:p>
        </p:txBody>
      </p:sp>
    </p:spTree>
    <p:extLst>
      <p:ext uri="{BB962C8B-B14F-4D97-AF65-F5344CB8AC3E}">
        <p14:creationId xmlns:p14="http://schemas.microsoft.com/office/powerpoint/2010/main" val="3930117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t>Need to update content, person responsible, timing</a:t>
            </a:r>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720923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a:cs typeface="Arial"/>
              </a:rPr>
              <a:t>Customer Churn: A significant hurdle in the credit card industry, leading to substantial revenue loss.</a:t>
            </a:r>
            <a:endParaRPr lang="en-US"/>
          </a:p>
          <a:p>
            <a:endParaRPr lang="en-US">
              <a:latin typeface="Arial"/>
              <a:cs typeface="Arial"/>
            </a:endParaRPr>
          </a:p>
          <a:p>
            <a:r>
              <a:rPr lang="en-US"/>
              <a:t>Impact on Business: High churn rates can negatively affect customer loyalty, brand reputation, and long-term revenue growth.</a:t>
            </a:r>
          </a:p>
          <a:p>
            <a:endParaRPr lang="en-US">
              <a:latin typeface="Arial"/>
              <a:cs typeface="Arial"/>
            </a:endParaRPr>
          </a:p>
          <a:p>
            <a:r>
              <a:rPr lang="en-US">
                <a:latin typeface="Arial"/>
                <a:cs typeface="Arial"/>
              </a:rPr>
              <a:t>Need for Predictive Tools: In the face of this challenge, predictive modeling emerges as a crucial need to proactively mitigate churn.</a:t>
            </a:r>
            <a:endParaRPr lang="en-US">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739300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a:p>
            <a:r>
              <a:rPr lang="en-US" dirty="0"/>
              <a:t>Predictive Modeling: Our predictive modeling doesn't just identify potential customer churn; it can also help us proactively address it. By predicting which customers are likely to churn, we can take preemptive action to engage them and address their concerns before they decide to leave. </a:t>
            </a:r>
          </a:p>
          <a:p>
            <a:endParaRPr lang="en-US" dirty="0"/>
          </a:p>
          <a:p>
            <a:r>
              <a:rPr lang="en-US" dirty="0">
                <a:latin typeface="Arial"/>
                <a:cs typeface="Arial"/>
              </a:rPr>
              <a:t> </a:t>
            </a:r>
          </a:p>
          <a:p>
            <a:r>
              <a:rPr lang="en-US"/>
              <a:t>Improving Customer Satisfaction: Through this process, we aim to not just retain customers but enhance their satisfaction. By understanding their needs and concerns, we can provide a better customer experience, making them more likely to stay with us and less likely to churn. </a:t>
            </a:r>
            <a:endParaRPr lang="en-US" dirty="0"/>
          </a:p>
          <a:p>
            <a:r>
              <a:rPr lang="en-US" dirty="0">
                <a:latin typeface="Arial"/>
                <a:cs typeface="Arial"/>
              </a:rPr>
              <a:t> </a:t>
            </a:r>
          </a:p>
          <a:p>
            <a:r>
              <a:rPr lang="en-US" dirty="0">
                <a:latin typeface="Arial"/>
                <a:cs typeface="Arial"/>
              </a:rPr>
              <a:t>Strengthening Market Position: Ultimately, reducing customer churn strengthens your position in the market. Retaining customers is less costly than acquiring new ones and satisfied customers are more likely to recommend us to others, helping us grow. </a:t>
            </a:r>
          </a:p>
          <a:p>
            <a:r>
              <a:rPr lang="en-US" dirty="0">
                <a:latin typeface="Arial"/>
                <a:cs typeface="Arial"/>
              </a:rPr>
              <a:t> </a:t>
            </a:r>
          </a:p>
          <a:p>
            <a:r>
              <a:rPr lang="en-US" dirty="0">
                <a:latin typeface="Arial"/>
                <a:cs typeface="Arial"/>
              </a:rPr>
              <a:t>We believe this solution has the potential to significantly reduce customer churn and its impact on our business. We look forward to your thoughts and feedback as we work towards how we will be implementing this solution.</a:t>
            </a:r>
          </a:p>
          <a:p>
            <a:endParaRPr lang="en-US" dirty="0"/>
          </a:p>
          <a:p>
            <a:endParaRPr lang="en-US" dirty="0">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163430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910586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4188945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though, these two features were very clear in the difference between the loyal and non-loyal customers, there are 18 other features that we must consider as well. Each of which are not very easy for a human to decipher between the two groups. Furthermore, with our eye test, we also cannot draw any conclusions about the interaction between features. This is crucial due to the fact that features are not independent of each other.</a:t>
            </a:r>
          </a:p>
          <a:p>
            <a:endParaRPr lang="en-US"/>
          </a:p>
          <a:p>
            <a:r>
              <a:rPr lang="en-US"/>
              <a:t>Thus, our team created the loyal lock solution in order draw the connections that our human brains cannot. The model will be able to take in all of the 20 features for a given individual and determine whether they are going to leave in the future or not based on the multitude of inferences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210767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Notes:</a:t>
            </a:r>
          </a:p>
          <a:p>
            <a:r>
              <a:rPr lang="en-US" dirty="0"/>
              <a:t>Precision, Accuracy, and Confusion Matrix are all essential when evaluating the impact that classification models have on the business.</a:t>
            </a:r>
          </a:p>
          <a:p>
            <a:endParaRPr lang="en-US" dirty="0"/>
          </a:p>
          <a:p>
            <a:r>
              <a:rPr lang="en-US" dirty="0">
                <a:latin typeface="Arial"/>
                <a:cs typeface="Arial"/>
              </a:rPr>
              <a:t>Precision:</a:t>
            </a:r>
          </a:p>
          <a:p>
            <a:r>
              <a:rPr lang="en-US" dirty="0">
                <a:latin typeface="Arial"/>
                <a:cs typeface="Arial"/>
              </a:rPr>
              <a:t>Precision plays a vital role when impacting business with the results from predictive modeling. Precision tells you how many positive predictions are made by the model which are correct</a:t>
            </a:r>
            <a:endParaRPr lang="en-US" dirty="0">
              <a:cs typeface="Arial"/>
            </a:endParaRPr>
          </a:p>
          <a:p>
            <a:endParaRPr lang="en-US" dirty="0">
              <a:cs typeface="Arial"/>
            </a:endParaRPr>
          </a:p>
          <a:p>
            <a:r>
              <a:rPr lang="en-US" dirty="0">
                <a:latin typeface="Arial"/>
                <a:cs typeface="Arial"/>
              </a:rPr>
              <a:t>Recall: </a:t>
            </a:r>
            <a:r>
              <a:rPr lang="en-US" sz="1800" b="0" i="0" u="none" strike="noStrike" dirty="0">
                <a:solidFill>
                  <a:srgbClr val="000000"/>
                </a:solidFill>
                <a:effectLst/>
                <a:latin typeface="Arial" panose="020B0604020202020204" pitchFamily="34" charset="0"/>
              </a:rPr>
              <a:t>Our model ultimately predicts if a customer is at risk for churning and so brings with it some considerations. The model has the potential to misclassify those who will and won’t churn as the opposite of what they are to be. For this reason we prioritize the measurements of accuracy and, specifically, recall as it emphasizes the models capacity to correctly predict, specifically,  accounts which are at risk of churning, decreasing the importance of classifying those who don’t churn, correctly. The subsequent result of which would be offering them financial products that they don’t have a strong need for</a:t>
            </a:r>
            <a:endParaRPr lang="en-US"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1177275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6D80C-5835-87C2-17E1-AA8894EB1E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353C0C-04DE-C5C3-71B0-F5177B2410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D78B62-8176-805B-8B43-1DC44DA45C3E}"/>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4E9FC9A7-4181-F5F3-05A4-346E795BF1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4590E3-2459-68D4-4E19-9E5DEB772BE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359544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C669F-1B62-DD0F-AB43-5A84744279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635CD0-B852-6777-E541-51DDB4F29D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A8BC3E-C236-6975-70B7-D911CB41AF9F}"/>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80C9D155-8C67-618D-5833-6F6D61C70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511E1F-2347-D20B-319C-1F3F1D563C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335845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D19EAA-6758-1696-2946-422F3B8351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350D89-2A0C-6383-B4A4-01FB510687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F03E7A-5B6F-1D88-0048-8EA62E0D03AA}"/>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CF12798F-D705-516E-D763-E0D73D7C76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7C3939-6761-D360-07DA-558E6932D7A6}"/>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558860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Presentation title</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61AF5-BE8E-D2E4-71A5-132E0119C4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CA73A6-85EA-E2DA-0B20-AE8A5F3D1D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316FD6-1145-577A-1485-6707B7A1B732}"/>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3F945D2E-51D6-840D-B3C1-33A663350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7E9F87-6342-6727-BD12-D71B2A9A813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42475370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a:t>Insert sponsorship mark here</a:t>
            </a:r>
            <a:endParaRPr lang="en-GB"/>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AD3EB-CC97-BC83-B155-F5579F530A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4ABFB2-8B8C-C771-258A-B025A63C96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DBFBEC-8020-6AFC-C550-C0A828518394}"/>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4BDE5210-9AD5-2C55-16D0-3EFC31054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44E32-288A-9A06-260D-A9D127B29E9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538321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27532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45225-9A5D-42EE-3D80-D86E30BC74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2B8720-9BF4-41B2-B32D-D15DA470F9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05E5E3-78FE-C79F-7E52-BE14FE3E48E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0E95B2-B8D1-3B2E-F1B5-86CD7F58E0C6}"/>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6" name="Footer Placeholder 5">
            <a:extLst>
              <a:ext uri="{FF2B5EF4-FFF2-40B4-BE49-F238E27FC236}">
                <a16:creationId xmlns:a16="http://schemas.microsoft.com/office/drawing/2014/main" id="{59F908A1-E693-22D4-3ECB-D60C67C836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2A-E483-487B-0224-EEC674416B0F}"/>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780929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D0A98-C20B-5B49-55B5-F537E9E1F5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18C5AF-E370-3B16-99FB-E70289F34D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39505E-DF27-972D-C929-8FB4E39CF49A}"/>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EACBE62C-CC8C-8CD5-1A3E-F09326524D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748EA-2E83-A415-4B0A-ED82A2ABA221}"/>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5303821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511F9-3325-2BBD-74B6-E1CD7DF9C2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89288E-E16D-8CB5-BEBE-72CB965D2E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4AE64B-CC4E-9711-26F2-C30E9B313510}"/>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191B5099-66F8-234A-9C4B-17547C109A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68962-D7C3-5EE5-2E0E-2BA3AEB551E8}"/>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5317389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BCF5B-5B33-84D1-C346-86FBD75926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1A0551-B0E8-F2BB-0BAE-B9D5036F5E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54032E-7EC8-EF92-A74C-98103E077A29}"/>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E1F39301-06ED-D749-184D-C7B3A0FD7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1896B-FA3B-2C73-7A61-8458AD131ADB}"/>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701569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C7E67-28E5-0597-A891-600321E7BD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136DB1-E585-E3D9-D4FE-28178EB33C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F2B329-0013-4901-C86B-94203D9B61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AA3C79-DE5E-8B41-9F82-465AF1035058}"/>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6" name="Footer Placeholder 5">
            <a:extLst>
              <a:ext uri="{FF2B5EF4-FFF2-40B4-BE49-F238E27FC236}">
                <a16:creationId xmlns:a16="http://schemas.microsoft.com/office/drawing/2014/main" id="{EC30D063-C7C2-5123-29FE-13645005D6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D09C0A-4E4B-A79A-0FD4-076611AEC3F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2487826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B4690-DCBD-E143-98A7-E009C2AACA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3432C3-6879-B663-D2B7-3ADFF29BE9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66EEAE-911A-16E1-ED8E-7ABAE291C6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EB6742-4CD1-0B3E-6F4A-A69B48AB1E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86A014-8669-C40B-9E73-B92E9A9575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00135-8235-4CFB-AF15-763DBDDE07C0}"/>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8" name="Footer Placeholder 7">
            <a:extLst>
              <a:ext uri="{FF2B5EF4-FFF2-40B4-BE49-F238E27FC236}">
                <a16:creationId xmlns:a16="http://schemas.microsoft.com/office/drawing/2014/main" id="{C936B6AA-1F8A-5F17-4747-D0BA147C6A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0203E-16FC-5D4C-8D10-E317F0521E7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342148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D5FEF-5DA7-6468-7057-6A9DA008E1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E06211-7188-F4F7-C77D-21F17AB31A70}"/>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4" name="Footer Placeholder 3">
            <a:extLst>
              <a:ext uri="{FF2B5EF4-FFF2-40B4-BE49-F238E27FC236}">
                <a16:creationId xmlns:a16="http://schemas.microsoft.com/office/drawing/2014/main" id="{36A88244-9C0D-2F21-5EC6-7F55E55018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2E0BC7-A345-DECF-19F3-C0EB4EE3850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779090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55351D-EE35-1B8E-8454-275FFCBEEE92}"/>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3" name="Footer Placeholder 2">
            <a:extLst>
              <a:ext uri="{FF2B5EF4-FFF2-40B4-BE49-F238E27FC236}">
                <a16:creationId xmlns:a16="http://schemas.microsoft.com/office/drawing/2014/main" id="{F09269C7-A826-A3A4-7B98-833A4F562B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4DBB53-3DF5-205B-42E9-27F0159BA3BC}"/>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914922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5EB37-1B2B-E36A-D172-B93758049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33DD86-C691-66ED-61D3-3A10AC0EBF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5A9333-2A81-9C2A-1743-4E9B4C0EEE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275F0E-0150-FE0C-FB59-3E963F059B0B}"/>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6" name="Footer Placeholder 5">
            <a:extLst>
              <a:ext uri="{FF2B5EF4-FFF2-40B4-BE49-F238E27FC236}">
                <a16:creationId xmlns:a16="http://schemas.microsoft.com/office/drawing/2014/main" id="{BBA52BA6-C5F9-969D-3DD8-9F4181AAD6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2BBB79-DCC8-14DE-CA8F-4EA820B35AF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6406235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F5402-61D0-C1F9-E31C-129235EC64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F633F7-D7B0-0E46-CC08-57ECA4C864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FD99CC-677F-6DEF-C15C-50AFB9FC2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3D6483-281C-20AC-DD47-54CA51D5ACAB}"/>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6" name="Footer Placeholder 5">
            <a:extLst>
              <a:ext uri="{FF2B5EF4-FFF2-40B4-BE49-F238E27FC236}">
                <a16:creationId xmlns:a16="http://schemas.microsoft.com/office/drawing/2014/main" id="{3FF2A4B6-B693-1611-1E61-2D12A9CD2B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928704-8951-7525-0B2A-CB389CC788D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4272761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DFC89-C14A-C3E7-C655-522DB0D002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BECA1A8-4779-4423-3BBA-492D82A930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D0C086-CEE3-DF47-232A-9A178291039A}"/>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67EB9431-89CA-272B-FA9A-2D7A3E482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13341D-BF43-B0D8-36A3-B015E48A161D}"/>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268121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6932C-A2B2-0544-DF82-9A300D36FB8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4B6DB-12D9-EB6D-C53F-D9D2D262F9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4106D9-B4F9-387E-B6EB-6478E1A8D3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8DC52C-7767-4ECC-38F4-60C2525DF5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CDA21E-1EED-5328-2E5C-B74474A55D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403F4F-9063-9AA9-1AB2-98DFFF0A1729}"/>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8" name="Footer Placeholder 7">
            <a:extLst>
              <a:ext uri="{FF2B5EF4-FFF2-40B4-BE49-F238E27FC236}">
                <a16:creationId xmlns:a16="http://schemas.microsoft.com/office/drawing/2014/main" id="{C50DD7BF-D178-FE31-3CEC-9E40D641002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381EF5-7B0A-F0FD-DB7C-C4FC5B0C33C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54629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00322E-AD19-BE1C-3628-B1BCD5C1AE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E59372-CF8E-328A-7B2D-E87C621B64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B90DC3-B5C0-16FA-ED55-A97B30379E19}"/>
              </a:ext>
            </a:extLst>
          </p:cNvPr>
          <p:cNvSpPr>
            <a:spLocks noGrp="1"/>
          </p:cNvSpPr>
          <p:nvPr>
            <p:ph type="dt" sz="half" idx="10"/>
          </p:nvPr>
        </p:nvSpPr>
        <p:spPr/>
        <p:txBody>
          <a:body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4C7F8C4C-4757-B1F6-6E2E-F129C5ED15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FF7B3-EC90-BDCA-D993-07D5A9D02D7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696885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542DD-19F7-FA30-EFE0-FE88748165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1451FD-BF42-98D7-4120-3F208A96797D}"/>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4" name="Footer Placeholder 3">
            <a:extLst>
              <a:ext uri="{FF2B5EF4-FFF2-40B4-BE49-F238E27FC236}">
                <a16:creationId xmlns:a16="http://schemas.microsoft.com/office/drawing/2014/main" id="{30A40063-0B09-172C-A147-42283F22F05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0FC1DE-363C-5F24-D00A-25ACBDFF6523}"/>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103136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69290B-C3B1-EB3B-FC6A-74A08F0B98E2}"/>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3" name="Footer Placeholder 2">
            <a:extLst>
              <a:ext uri="{FF2B5EF4-FFF2-40B4-BE49-F238E27FC236}">
                <a16:creationId xmlns:a16="http://schemas.microsoft.com/office/drawing/2014/main" id="{1A0AAE4A-DD79-3F8A-1A94-34305F78A9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203E95-DB06-806E-C014-B3848F465817}"/>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254635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E9014-5595-72B6-F5CA-03022823A0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C0412B-8A97-A38D-AC85-81E67C98C5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754E0A-A6C2-CC0E-B9CD-C3B2C49EA7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17CF9E-2056-EE4D-E9D9-BEFC0A8DC351}"/>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6" name="Footer Placeholder 5">
            <a:extLst>
              <a:ext uri="{FF2B5EF4-FFF2-40B4-BE49-F238E27FC236}">
                <a16:creationId xmlns:a16="http://schemas.microsoft.com/office/drawing/2014/main" id="{F934CABF-0CA3-4EE6-9B44-4B02612F83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048CE7-A09B-A5AA-9180-51E863301C8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779629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A824E-A007-D112-0A62-B6263B459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E80C47-8FF3-DA9C-670C-6103D698A8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A030B5-4B47-32C6-D1F4-17F2143ACB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B2EC9E-6BB4-21D1-BEF5-C298E6985347}"/>
              </a:ext>
            </a:extLst>
          </p:cNvPr>
          <p:cNvSpPr>
            <a:spLocks noGrp="1"/>
          </p:cNvSpPr>
          <p:nvPr>
            <p:ph type="dt" sz="half" idx="10"/>
          </p:nvPr>
        </p:nvSpPr>
        <p:spPr/>
        <p:txBody>
          <a:bodyPr/>
          <a:lstStyle/>
          <a:p>
            <a:fld id="{671C17A2-B09A-4EE2-AF2F-8CB63F477E5F}" type="datetimeFigureOut">
              <a:rPr lang="en-US" smtClean="0"/>
              <a:t>6/12/2024</a:t>
            </a:fld>
            <a:endParaRPr lang="en-US"/>
          </a:p>
        </p:txBody>
      </p:sp>
      <p:sp>
        <p:nvSpPr>
          <p:cNvPr id="6" name="Footer Placeholder 5">
            <a:extLst>
              <a:ext uri="{FF2B5EF4-FFF2-40B4-BE49-F238E27FC236}">
                <a16:creationId xmlns:a16="http://schemas.microsoft.com/office/drawing/2014/main" id="{911E2EA8-2833-3689-BDD1-7A504B3576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05766-13D9-6CC7-15FB-5BFFE80362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761901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D8A085-A087-4D39-F7D5-5AFF3F35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49F93B-7579-6B62-4333-21163F9318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4DD42-7981-50AD-90D9-D9504446C0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17A2-B09A-4EE2-AF2F-8CB63F477E5F}" type="datetimeFigureOut">
              <a:rPr lang="en-US" smtClean="0"/>
              <a:t>6/12/2024</a:t>
            </a:fld>
            <a:endParaRPr lang="en-US"/>
          </a:p>
        </p:txBody>
      </p:sp>
      <p:sp>
        <p:nvSpPr>
          <p:cNvPr id="5" name="Footer Placeholder 4">
            <a:extLst>
              <a:ext uri="{FF2B5EF4-FFF2-40B4-BE49-F238E27FC236}">
                <a16:creationId xmlns:a16="http://schemas.microsoft.com/office/drawing/2014/main" id="{52237638-7C07-33A2-BA3E-03C1420B7A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05A56E-CDDE-EBEB-16AD-ED2A354F60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B1B2AC-1F50-4148-A5C4-E57B8A8F0E99}" type="slidenum">
              <a:rPr lang="en-US" smtClean="0"/>
              <a:t>‹#›</a:t>
            </a:fld>
            <a:endParaRPr lang="en-US"/>
          </a:p>
        </p:txBody>
      </p:sp>
    </p:spTree>
    <p:extLst>
      <p:ext uri="{BB962C8B-B14F-4D97-AF65-F5344CB8AC3E}">
        <p14:creationId xmlns:p14="http://schemas.microsoft.com/office/powerpoint/2010/main" val="3031435209"/>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err="1">
                <a:solidFill>
                  <a:schemeClr val="tx1"/>
                </a:solidFill>
                <a:latin typeface="Calibri Light"/>
                <a:ea typeface="Open Sans"/>
                <a:cs typeface="Calibri Light"/>
              </a:rPr>
              <a:t>LoyalLock</a:t>
            </a:r>
            <a:r>
              <a:rPr lang="en-US" sz="800">
                <a:solidFill>
                  <a:schemeClr val="tx1"/>
                </a:solidFill>
                <a:latin typeface="Calibri Light"/>
                <a:ea typeface="Open Sans"/>
                <a:cs typeface="Calibri Light"/>
              </a:rPr>
              <a:t>: Predictive Modeling for Customer Segmentation and Churn Reduction</a:t>
            </a:r>
            <a:endParaRPr lang="en-US" sz="8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5F736C-2B58-D98F-2A1F-C5BFC3FB16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160623-EAA3-88DF-F40E-6F4163768F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CF332-229B-FA03-BB77-63B85AC248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05C2C-AE3A-4313-91DA-FDD95DAE60AA}" type="datetimeFigureOut">
              <a:rPr lang="en-US" smtClean="0"/>
              <a:t>6/12/2024</a:t>
            </a:fld>
            <a:endParaRPr lang="en-US"/>
          </a:p>
        </p:txBody>
      </p:sp>
      <p:sp>
        <p:nvSpPr>
          <p:cNvPr id="5" name="Footer Placeholder 4">
            <a:extLst>
              <a:ext uri="{FF2B5EF4-FFF2-40B4-BE49-F238E27FC236}">
                <a16:creationId xmlns:a16="http://schemas.microsoft.com/office/drawing/2014/main" id="{01E75181-ECB3-7B44-3803-1CB1EEC73A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CA7F537-0EE6-3D43-D9B9-63572C8B22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1CDF7-5916-414D-8AAF-8E2A25E78944}" type="slidenum">
              <a:rPr lang="en-US" smtClean="0"/>
              <a:t>‹#›</a:t>
            </a:fld>
            <a:endParaRPr lang="en-US"/>
          </a:p>
        </p:txBody>
      </p:sp>
    </p:spTree>
    <p:extLst>
      <p:ext uri="{BB962C8B-B14F-4D97-AF65-F5344CB8AC3E}">
        <p14:creationId xmlns:p14="http://schemas.microsoft.com/office/powerpoint/2010/main" val="706252373"/>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13.png"/><Relationship Id="rId7"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5" descr="Train tunnel with neon green lights at center. Represents &quot;Portal&quot; style of on brand circular motifs.">
            <a:extLst>
              <a:ext uri="{FF2B5EF4-FFF2-40B4-BE49-F238E27FC236}">
                <a16:creationId xmlns:a16="http://schemas.microsoft.com/office/drawing/2014/main" id="{69FB2739-6734-410A-BC1B-20F79BDF7E70}"/>
              </a:ext>
            </a:extLst>
          </p:cNvPr>
          <p:cNvPicPr>
            <a:picLocks noChangeAspect="1"/>
          </p:cNvPicPr>
          <p:nvPr/>
        </p:nvPicPr>
        <p:blipFill rotWithShape="1">
          <a:blip r:embed="rId3"/>
          <a:srcRect l="12349" t="12500" r="12349" b="12500"/>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CA599BFD-072A-7B3B-8F28-B245313DA8CB}"/>
              </a:ext>
            </a:extLst>
          </p:cNvPr>
          <p:cNvSpPr>
            <a:spLocks noGrp="1"/>
          </p:cNvSpPr>
          <p:nvPr>
            <p:ph type="pic" sz="quarter" idx="11"/>
          </p:nvPr>
        </p:nvSpPr>
        <p:spPr/>
      </p:sp>
      <p:sp>
        <p:nvSpPr>
          <p:cNvPr id="3" name="Title 2">
            <a:extLst>
              <a:ext uri="{FF2B5EF4-FFF2-40B4-BE49-F238E27FC236}">
                <a16:creationId xmlns:a16="http://schemas.microsoft.com/office/drawing/2014/main" id="{EAF8D057-484E-4004-9E07-EA016E78EB94}"/>
              </a:ext>
            </a:extLst>
          </p:cNvPr>
          <p:cNvSpPr>
            <a:spLocks noGrp="1"/>
          </p:cNvSpPr>
          <p:nvPr>
            <p:ph type="ctrTitle"/>
          </p:nvPr>
        </p:nvSpPr>
        <p:spPr>
          <a:xfrm>
            <a:off x="467730" y="5613541"/>
            <a:ext cx="4446269" cy="895983"/>
          </a:xfrm>
        </p:spPr>
        <p:txBody>
          <a:bodyPr/>
          <a:lstStyle/>
          <a:p>
            <a:r>
              <a:rPr lang="en-US" sz="2800" err="1">
                <a:solidFill>
                  <a:schemeClr val="bg1"/>
                </a:solidFill>
                <a:latin typeface="Calibri Light"/>
                <a:ea typeface="Open Sans"/>
                <a:cs typeface="Calibri Light"/>
              </a:rPr>
              <a:t>LoyalLock</a:t>
            </a:r>
            <a:r>
              <a:rPr lang="en-US" sz="2800">
                <a:solidFill>
                  <a:schemeClr val="bg1"/>
                </a:solidFill>
                <a:latin typeface="Calibri Light"/>
                <a:ea typeface="Open Sans"/>
                <a:cs typeface="Calibri Light"/>
              </a:rPr>
              <a:t>: Predictive Modeling for Customer Segmentation and Churn Reduction</a:t>
            </a:r>
          </a:p>
        </p:txBody>
      </p:sp>
      <p:pic>
        <p:nvPicPr>
          <p:cNvPr id="20" name="Picture 19" descr="Deloitte Heritage Seal - MAKING AN IMPACT THAT MATTERS SINCE 1845">
            <a:extLst>
              <a:ext uri="{FF2B5EF4-FFF2-40B4-BE49-F238E27FC236}">
                <a16:creationId xmlns:a16="http://schemas.microsoft.com/office/drawing/2014/main" id="{8B325079-1BA5-4753-876E-4974B916CB04}"/>
              </a:ext>
            </a:extLst>
          </p:cNvPr>
          <p:cNvPicPr>
            <a:picLocks noChangeAspect="1"/>
          </p:cNvPicPr>
          <p:nvPr/>
        </p:nvPicPr>
        <p:blipFill>
          <a:blip r:embed="rId4"/>
          <a:srcRect/>
          <a:stretch/>
        </p:blipFill>
        <p:spPr>
          <a:xfrm>
            <a:off x="10694852" y="5659120"/>
            <a:ext cx="1198880" cy="1198880"/>
          </a:xfrm>
          <a:prstGeom prst="rect">
            <a:avLst/>
          </a:prstGeom>
        </p:spPr>
      </p:pic>
      <p:grpSp>
        <p:nvGrpSpPr>
          <p:cNvPr id="7" name="Group 6">
            <a:extLst>
              <a:ext uri="{FF2B5EF4-FFF2-40B4-BE49-F238E27FC236}">
                <a16:creationId xmlns:a16="http://schemas.microsoft.com/office/drawing/2014/main" id="{330EB1B4-1931-1BD6-D01E-A5ED6BD2FAF0}"/>
              </a:ext>
            </a:extLst>
          </p:cNvPr>
          <p:cNvGrpSpPr/>
          <p:nvPr/>
        </p:nvGrpSpPr>
        <p:grpSpPr>
          <a:xfrm>
            <a:off x="450000" y="341312"/>
            <a:ext cx="1819656" cy="347472"/>
            <a:chOff x="398463" y="404813"/>
            <a:chExt cx="1627187" cy="307976"/>
          </a:xfrm>
          <a:solidFill>
            <a:schemeClr val="bg1"/>
          </a:solidFill>
        </p:grpSpPr>
        <p:sp>
          <p:nvSpPr>
            <p:cNvPr id="8" name="Oval 5">
              <a:extLst>
                <a:ext uri="{FF2B5EF4-FFF2-40B4-BE49-F238E27FC236}">
                  <a16:creationId xmlns:a16="http://schemas.microsoft.com/office/drawing/2014/main" id="{A5C78E16-A05E-BDFF-C6D0-640C61D0B67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a:extLst>
                <a:ext uri="{FF2B5EF4-FFF2-40B4-BE49-F238E27FC236}">
                  <a16:creationId xmlns:a16="http://schemas.microsoft.com/office/drawing/2014/main" id="{A41DB174-4ADB-FAA5-D430-95AAFCC0ED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a:extLst>
                <a:ext uri="{FF2B5EF4-FFF2-40B4-BE49-F238E27FC236}">
                  <a16:creationId xmlns:a16="http://schemas.microsoft.com/office/drawing/2014/main" id="{5CEDDE6E-C57C-7507-862E-CD143635554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a:extLst>
                <a:ext uri="{FF2B5EF4-FFF2-40B4-BE49-F238E27FC236}">
                  <a16:creationId xmlns:a16="http://schemas.microsoft.com/office/drawing/2014/main" id="{796075F7-3490-F0F9-1F50-A95D98305B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a:extLst>
                <a:ext uri="{FF2B5EF4-FFF2-40B4-BE49-F238E27FC236}">
                  <a16:creationId xmlns:a16="http://schemas.microsoft.com/office/drawing/2014/main" id="{7860C6FB-CC54-3BC4-DF00-C7D90182220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a:extLst>
                <a:ext uri="{FF2B5EF4-FFF2-40B4-BE49-F238E27FC236}">
                  <a16:creationId xmlns:a16="http://schemas.microsoft.com/office/drawing/2014/main" id="{BD722588-555E-97A2-8B79-FBC9F2FC8AD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a:extLst>
                <a:ext uri="{FF2B5EF4-FFF2-40B4-BE49-F238E27FC236}">
                  <a16:creationId xmlns:a16="http://schemas.microsoft.com/office/drawing/2014/main" id="{C8F63FE7-DF3B-2F10-D658-3124689897E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a:extLst>
                <a:ext uri="{FF2B5EF4-FFF2-40B4-BE49-F238E27FC236}">
                  <a16:creationId xmlns:a16="http://schemas.microsoft.com/office/drawing/2014/main" id="{D09E2B45-62EF-96F7-4936-18E4D9DE308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a:extLst>
                <a:ext uri="{FF2B5EF4-FFF2-40B4-BE49-F238E27FC236}">
                  <a16:creationId xmlns:a16="http://schemas.microsoft.com/office/drawing/2014/main" id="{4CAC4340-6F8A-8CB3-0019-0ED8EE69530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a:extLst>
                <a:ext uri="{FF2B5EF4-FFF2-40B4-BE49-F238E27FC236}">
                  <a16:creationId xmlns:a16="http://schemas.microsoft.com/office/drawing/2014/main" id="{735BC1E3-877D-378C-0CE3-EC22E7522B0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2932539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Data Takeaways</a:t>
            </a:r>
          </a:p>
        </p:txBody>
      </p:sp>
      <p:sp>
        <p:nvSpPr>
          <p:cNvPr id="5" name="Oval 4">
            <a:extLst>
              <a:ext uri="{FF2B5EF4-FFF2-40B4-BE49-F238E27FC236}">
                <a16:creationId xmlns:a16="http://schemas.microsoft.com/office/drawing/2014/main" id="{A1F91E32-0F10-FA81-5463-01926B3687DF}"/>
              </a:ext>
            </a:extLst>
          </p:cNvPr>
          <p:cNvSpPr/>
          <p:nvPr/>
        </p:nvSpPr>
        <p:spPr>
          <a:xfrm>
            <a:off x="584499" y="1205478"/>
            <a:ext cx="4948517" cy="4732743"/>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lgn="ctr">
              <a:buFont typeface="Wingdings" panose="05000000000000000000" pitchFamily="2" charset="2"/>
              <a:buChar char="q"/>
            </a:pPr>
            <a:endParaRPr lang="en-US"/>
          </a:p>
          <a:p>
            <a:pPr marL="285750" indent="-285750" algn="ctr">
              <a:buFont typeface="Wingdings" panose="05000000000000000000" pitchFamily="2" charset="2"/>
              <a:buChar char="q"/>
            </a:pPr>
            <a:r>
              <a:rPr lang="en-US"/>
              <a:t>Difficult for human to extract meaning from 19 features</a:t>
            </a:r>
            <a:br>
              <a:rPr lang="en-US"/>
            </a:br>
            <a:endParaRPr lang="en-US"/>
          </a:p>
          <a:p>
            <a:pPr marL="285750" indent="-285750" algn="ctr">
              <a:buFont typeface="Wingdings" panose="05000000000000000000" pitchFamily="2" charset="2"/>
              <a:buChar char="q"/>
            </a:pPr>
            <a:r>
              <a:rPr lang="en-US"/>
              <a:t>Model distinguishes and draws inferences between features</a:t>
            </a:r>
            <a:br>
              <a:rPr lang="en-US"/>
            </a:br>
            <a:endParaRPr lang="en-US"/>
          </a:p>
          <a:p>
            <a:pPr marL="285750" indent="-285750" algn="ctr">
              <a:buFont typeface="Wingdings" panose="05000000000000000000" pitchFamily="2" charset="2"/>
              <a:buChar char="q"/>
            </a:pPr>
            <a:r>
              <a:rPr lang="en-US"/>
              <a:t>Text vs. Numerical data</a:t>
            </a:r>
            <a:br>
              <a:rPr lang="en-US"/>
            </a:br>
            <a:endParaRPr lang="en-US"/>
          </a:p>
          <a:p>
            <a:pPr marL="285750" indent="-285750" algn="ctr">
              <a:buFont typeface="Wingdings" panose="05000000000000000000" pitchFamily="2" charset="2"/>
              <a:buChar char="q"/>
            </a:pPr>
            <a:r>
              <a:rPr lang="en-US"/>
              <a:t>More accurate conclusions</a:t>
            </a:r>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76478884-0EA7-561D-3807-A3D9B1AFB53B}"/>
              </a:ext>
            </a:extLst>
          </p:cNvPr>
          <p:cNvSpPr txBox="1"/>
          <p:nvPr/>
        </p:nvSpPr>
        <p:spPr>
          <a:xfrm>
            <a:off x="6658984" y="1062627"/>
            <a:ext cx="4948517" cy="4875594"/>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pic>
        <p:nvPicPr>
          <p:cNvPr id="4" name="Picture 3">
            <a:extLst>
              <a:ext uri="{FF2B5EF4-FFF2-40B4-BE49-F238E27FC236}">
                <a16:creationId xmlns:a16="http://schemas.microsoft.com/office/drawing/2014/main" id="{0E35DF14-4D1F-7475-DE7B-952B0CB2E20C}"/>
              </a:ext>
            </a:extLst>
          </p:cNvPr>
          <p:cNvPicPr>
            <a:picLocks noChangeAspect="1"/>
          </p:cNvPicPr>
          <p:nvPr/>
        </p:nvPicPr>
        <p:blipFill>
          <a:blip r:embed="rId3"/>
          <a:stretch>
            <a:fillRect/>
          </a:stretch>
        </p:blipFill>
        <p:spPr>
          <a:xfrm>
            <a:off x="6317476" y="1268629"/>
            <a:ext cx="5122011" cy="4606439"/>
          </a:xfrm>
          <a:prstGeom prst="rect">
            <a:avLst/>
          </a:prstGeom>
        </p:spPr>
      </p:pic>
      <p:pic>
        <p:nvPicPr>
          <p:cNvPr id="8" name="Picture 7">
            <a:extLst>
              <a:ext uri="{FF2B5EF4-FFF2-40B4-BE49-F238E27FC236}">
                <a16:creationId xmlns:a16="http://schemas.microsoft.com/office/drawing/2014/main" id="{31E946E2-95D6-7347-68D3-552938D1B452}"/>
              </a:ext>
            </a:extLst>
          </p:cNvPr>
          <p:cNvPicPr>
            <a:picLocks noChangeAspect="1"/>
          </p:cNvPicPr>
          <p:nvPr/>
        </p:nvPicPr>
        <p:blipFill>
          <a:blip r:embed="rId4"/>
          <a:stretch>
            <a:fillRect/>
          </a:stretch>
        </p:blipFill>
        <p:spPr>
          <a:xfrm>
            <a:off x="6796978" y="1647257"/>
            <a:ext cx="4163006" cy="3848637"/>
          </a:xfrm>
          <a:prstGeom prst="rect">
            <a:avLst/>
          </a:prstGeom>
          <a:effectLst>
            <a:softEdge rad="12700"/>
          </a:effectLst>
        </p:spPr>
      </p:pic>
      <p:sp>
        <p:nvSpPr>
          <p:cNvPr id="10" name="TextBox 9">
            <a:extLst>
              <a:ext uri="{FF2B5EF4-FFF2-40B4-BE49-F238E27FC236}">
                <a16:creationId xmlns:a16="http://schemas.microsoft.com/office/drawing/2014/main" id="{86C20861-6F04-B16A-EDEC-9F8E4DDB8CCA}"/>
              </a:ext>
            </a:extLst>
          </p:cNvPr>
          <p:cNvSpPr txBox="1"/>
          <p:nvPr/>
        </p:nvSpPr>
        <p:spPr>
          <a:xfrm>
            <a:off x="6796978" y="5474914"/>
            <a:ext cx="2409713" cy="153888"/>
          </a:xfrm>
          <a:prstGeom prst="rect">
            <a:avLst/>
          </a:prstGeom>
          <a:noFill/>
        </p:spPr>
        <p:txBody>
          <a:bodyPr wrap="square" lIns="0" tIns="0" rIns="0" bIns="0" rtlCol="0">
            <a:spAutoFit/>
          </a:bodyPr>
          <a:lstStyle/>
          <a:p>
            <a:pPr>
              <a:spcBef>
                <a:spcPts val="600"/>
              </a:spcBef>
              <a:buSzPct val="100000"/>
            </a:pPr>
            <a:r>
              <a:rPr lang="en-US" sz="1000">
                <a:solidFill>
                  <a:srgbClr val="313131"/>
                </a:solidFill>
              </a:rPr>
              <a:t>Source: Kaggle 2020</a:t>
            </a:r>
          </a:p>
        </p:txBody>
      </p:sp>
    </p:spTree>
    <p:extLst>
      <p:ext uri="{BB962C8B-B14F-4D97-AF65-F5344CB8AC3E}">
        <p14:creationId xmlns:p14="http://schemas.microsoft.com/office/powerpoint/2010/main" val="19897825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C48A-8CF7-D014-85AA-2D36916E7907}"/>
              </a:ext>
            </a:extLst>
          </p:cNvPr>
          <p:cNvSpPr>
            <a:spLocks noGrp="1"/>
          </p:cNvSpPr>
          <p:nvPr>
            <p:ph type="title"/>
          </p:nvPr>
        </p:nvSpPr>
        <p:spPr/>
        <p:txBody>
          <a:bodyPr/>
          <a:lstStyle/>
          <a:p>
            <a:r>
              <a:rPr lang="en-US"/>
              <a:t>Evaluation Metrics</a:t>
            </a:r>
          </a:p>
        </p:txBody>
      </p:sp>
      <p:sp>
        <p:nvSpPr>
          <p:cNvPr id="3" name="Text Placeholder 2">
            <a:extLst>
              <a:ext uri="{FF2B5EF4-FFF2-40B4-BE49-F238E27FC236}">
                <a16:creationId xmlns:a16="http://schemas.microsoft.com/office/drawing/2014/main" id="{050278DC-1E28-2B37-0969-400BF2B0B241}"/>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34853398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8677B1-CC98-EDE7-0313-D2819DE69B3E}"/>
              </a:ext>
            </a:extLst>
          </p:cNvPr>
          <p:cNvSpPr>
            <a:spLocks noGrp="1"/>
          </p:cNvSpPr>
          <p:nvPr>
            <p:ph type="body" sz="quarter" idx="13"/>
          </p:nvPr>
        </p:nvSpPr>
        <p:spPr>
          <a:xfrm>
            <a:off x="933912" y="3807279"/>
            <a:ext cx="3971171" cy="1073673"/>
          </a:xfrm>
        </p:spPr>
        <p:txBody>
          <a:bodyPr/>
          <a:lstStyle/>
          <a:p>
            <a:pPr algn="l"/>
            <a:r>
              <a:rPr lang="en-US" b="0" i="0" dirty="0">
                <a:solidFill>
                  <a:schemeClr val="tx1">
                    <a:lumMod val="65000"/>
                    <a:lumOff val="35000"/>
                  </a:schemeClr>
                </a:solidFill>
                <a:effectLst/>
                <a:latin typeface="Inter"/>
              </a:rPr>
              <a:t>- Focuses on the </a:t>
            </a:r>
            <a:r>
              <a:rPr lang="en-US" i="0" dirty="0">
                <a:solidFill>
                  <a:schemeClr val="tx1">
                    <a:lumMod val="65000"/>
                    <a:lumOff val="35000"/>
                  </a:schemeClr>
                </a:solidFill>
                <a:effectLst/>
                <a:latin typeface="Inter"/>
              </a:rPr>
              <a:t>correctness</a:t>
            </a:r>
            <a:r>
              <a:rPr lang="en-US" b="0" i="0" dirty="0">
                <a:solidFill>
                  <a:schemeClr val="tx1">
                    <a:lumMod val="65000"/>
                    <a:lumOff val="35000"/>
                  </a:schemeClr>
                </a:solidFill>
                <a:effectLst/>
                <a:latin typeface="Inter"/>
              </a:rPr>
              <a:t> of positive predictions.</a:t>
            </a:r>
          </a:p>
          <a:p>
            <a:endParaRPr lang="en-US" dirty="0"/>
          </a:p>
          <a:p>
            <a:r>
              <a:rPr lang="en-US" dirty="0"/>
              <a:t>- High precision = fewer false positiv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id="{79A98F18-0439-0A97-8C56-D0262898FB0E}"/>
              </a:ext>
            </a:extLst>
          </p:cNvPr>
          <p:cNvSpPr>
            <a:spLocks noGrp="1"/>
          </p:cNvSpPr>
          <p:nvPr>
            <p:ph type="title"/>
          </p:nvPr>
        </p:nvSpPr>
        <p:spPr/>
        <p:txBody>
          <a:bodyPr/>
          <a:lstStyle/>
          <a:p>
            <a:r>
              <a:rPr lang="en-US">
                <a:cs typeface="Calibri Light"/>
              </a:rPr>
              <a:t>The Impact on Business</a:t>
            </a:r>
            <a:endParaRPr lang="en-US"/>
          </a:p>
        </p:txBody>
      </p:sp>
      <p:cxnSp>
        <p:nvCxnSpPr>
          <p:cNvPr id="4" name="Straight Connector 3">
            <a:extLst>
              <a:ext uri="{FF2B5EF4-FFF2-40B4-BE49-F238E27FC236}">
                <a16:creationId xmlns:a16="http://schemas.microsoft.com/office/drawing/2014/main" id="{FD4A883B-C7F6-B052-A48A-763E8C0CA99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5" name="Text Placeholder 1">
            <a:extLst>
              <a:ext uri="{FF2B5EF4-FFF2-40B4-BE49-F238E27FC236}">
                <a16:creationId xmlns:a16="http://schemas.microsoft.com/office/drawing/2014/main" id="{79BE1C9A-8CE2-721D-EA26-C556B7016892}"/>
              </a:ext>
            </a:extLst>
          </p:cNvPr>
          <p:cNvSpPr txBox="1">
            <a:spLocks/>
          </p:cNvSpPr>
          <p:nvPr/>
        </p:nvSpPr>
        <p:spPr>
          <a:xfrm>
            <a:off x="7404125" y="3872688"/>
            <a:ext cx="3376297" cy="942853"/>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apturing all relevant instances</a:t>
            </a:r>
          </a:p>
        </p:txBody>
      </p:sp>
      <p:sp>
        <p:nvSpPr>
          <p:cNvPr id="10" name="Rectangle 9" descr="Checklist outline">
            <a:extLst>
              <a:ext uri="{FF2B5EF4-FFF2-40B4-BE49-F238E27FC236}">
                <a16:creationId xmlns:a16="http://schemas.microsoft.com/office/drawing/2014/main" id="{62454BE2-F56A-D243-EC64-9AEC7981658B}"/>
              </a:ext>
            </a:extLst>
          </p:cNvPr>
          <p:cNvSpPr/>
          <p:nvPr/>
        </p:nvSpPr>
        <p:spPr>
          <a:xfrm>
            <a:off x="7952773" y="1282045"/>
            <a:ext cx="1691159" cy="1630838"/>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9" name="Rectangle 8" descr="Bullseye outline">
            <a:extLst>
              <a:ext uri="{FF2B5EF4-FFF2-40B4-BE49-F238E27FC236}">
                <a16:creationId xmlns:a16="http://schemas.microsoft.com/office/drawing/2014/main" id="{9ACEC880-379D-B0CC-EC70-8505DA953DD9}"/>
              </a:ext>
            </a:extLst>
          </p:cNvPr>
          <p:cNvSpPr/>
          <p:nvPr/>
        </p:nvSpPr>
        <p:spPr>
          <a:xfrm>
            <a:off x="1432874" y="1153634"/>
            <a:ext cx="1791093" cy="1630838"/>
          </a:xfrm>
          <a:prstGeom prst="rect">
            <a:avLst/>
          </a:prstGeom>
          <a:blipFill>
            <a:blip r:embed="rId5">
              <a:extLs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1" name="Group 10">
            <a:extLst>
              <a:ext uri="{FF2B5EF4-FFF2-40B4-BE49-F238E27FC236}">
                <a16:creationId xmlns:a16="http://schemas.microsoft.com/office/drawing/2014/main" id="{95FE05C6-B462-7581-1725-28BED8999966}"/>
              </a:ext>
            </a:extLst>
          </p:cNvPr>
          <p:cNvGrpSpPr/>
          <p:nvPr/>
        </p:nvGrpSpPr>
        <p:grpSpPr>
          <a:xfrm>
            <a:off x="1259670" y="3087279"/>
            <a:ext cx="2137500" cy="720000"/>
            <a:chOff x="1645877" y="1543867"/>
            <a:chExt cx="2137500" cy="720000"/>
          </a:xfrm>
        </p:grpSpPr>
        <p:sp>
          <p:nvSpPr>
            <p:cNvPr id="12" name="Rectangle 11">
              <a:extLst>
                <a:ext uri="{FF2B5EF4-FFF2-40B4-BE49-F238E27FC236}">
                  <a16:creationId xmlns:a16="http://schemas.microsoft.com/office/drawing/2014/main" id="{3295CB6D-B891-997A-4CC5-9A2C7789FFAF}"/>
                </a:ext>
              </a:extLst>
            </p:cNvPr>
            <p:cNvSpPr/>
            <p:nvPr/>
          </p:nvSpPr>
          <p:spPr>
            <a:xfrm>
              <a:off x="1645877" y="1543867"/>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6010B0AF-05A0-2CFB-D5C3-4DD23B8C8CA8}"/>
                </a:ext>
              </a:extLst>
            </p:cNvPr>
            <p:cNvSpPr txBox="1"/>
            <p:nvPr/>
          </p:nvSpPr>
          <p:spPr>
            <a:xfrm>
              <a:off x="1645877" y="1543867"/>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dirty="0"/>
                <a:t>Precision</a:t>
              </a:r>
            </a:p>
          </p:txBody>
        </p:sp>
      </p:grpSp>
      <p:grpSp>
        <p:nvGrpSpPr>
          <p:cNvPr id="14" name="Group 13">
            <a:extLst>
              <a:ext uri="{FF2B5EF4-FFF2-40B4-BE49-F238E27FC236}">
                <a16:creationId xmlns:a16="http://schemas.microsoft.com/office/drawing/2014/main" id="{6AD4E225-EA5C-99B1-3667-22DF207870AD}"/>
              </a:ext>
            </a:extLst>
          </p:cNvPr>
          <p:cNvGrpSpPr/>
          <p:nvPr/>
        </p:nvGrpSpPr>
        <p:grpSpPr>
          <a:xfrm>
            <a:off x="7726082" y="3058371"/>
            <a:ext cx="2137500" cy="720000"/>
            <a:chOff x="7276651" y="1610114"/>
            <a:chExt cx="2137500" cy="720000"/>
          </a:xfrm>
        </p:grpSpPr>
        <p:sp>
          <p:nvSpPr>
            <p:cNvPr id="15" name="Rectangle 14">
              <a:extLst>
                <a:ext uri="{FF2B5EF4-FFF2-40B4-BE49-F238E27FC236}">
                  <a16:creationId xmlns:a16="http://schemas.microsoft.com/office/drawing/2014/main" id="{1574C130-4A6B-0680-D71C-D80E3909FA4C}"/>
                </a:ext>
              </a:extLst>
            </p:cNvPr>
            <p:cNvSpPr/>
            <p:nvPr/>
          </p:nvSpPr>
          <p:spPr>
            <a:xfrm>
              <a:off x="7276651" y="1610114"/>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TextBox 15">
              <a:extLst>
                <a:ext uri="{FF2B5EF4-FFF2-40B4-BE49-F238E27FC236}">
                  <a16:creationId xmlns:a16="http://schemas.microsoft.com/office/drawing/2014/main" id="{16F92257-980B-C9B4-48D3-CFA87D3DFB10}"/>
                </a:ext>
              </a:extLst>
            </p:cNvPr>
            <p:cNvSpPr txBox="1"/>
            <p:nvPr/>
          </p:nvSpPr>
          <p:spPr>
            <a:xfrm>
              <a:off x="7276651" y="1610114"/>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a:t>Recall</a:t>
              </a:r>
            </a:p>
          </p:txBody>
        </p:sp>
      </p:grpSp>
    </p:spTree>
    <p:extLst>
      <p:ext uri="{BB962C8B-B14F-4D97-AF65-F5344CB8AC3E}">
        <p14:creationId xmlns:p14="http://schemas.microsoft.com/office/powerpoint/2010/main" val="20458499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55748-8E59-14FB-5801-03A336626AE0}"/>
              </a:ext>
            </a:extLst>
          </p:cNvPr>
          <p:cNvSpPr>
            <a:spLocks noGrp="1"/>
          </p:cNvSpPr>
          <p:nvPr>
            <p:ph type="title"/>
          </p:nvPr>
        </p:nvSpPr>
        <p:spPr/>
        <p:txBody>
          <a:bodyPr/>
          <a:lstStyle/>
          <a:p>
            <a:r>
              <a:rPr lang="en-US"/>
              <a:t>Modeling Techniques</a:t>
            </a:r>
          </a:p>
        </p:txBody>
      </p:sp>
      <p:sp>
        <p:nvSpPr>
          <p:cNvPr id="3" name="Text Placeholder 2">
            <a:extLst>
              <a:ext uri="{FF2B5EF4-FFF2-40B4-BE49-F238E27FC236}">
                <a16:creationId xmlns:a16="http://schemas.microsoft.com/office/drawing/2014/main" id="{013A3B71-95B1-80CB-8C05-82B381385822}"/>
              </a:ext>
            </a:extLst>
          </p:cNvPr>
          <p:cNvSpPr>
            <a:spLocks noGrp="1"/>
          </p:cNvSpPr>
          <p:nvPr>
            <p:ph type="body" idx="1"/>
          </p:nvPr>
        </p:nvSpPr>
        <p:spPr/>
        <p:txBody>
          <a:bodyPr/>
          <a:lstStyle/>
          <a:p>
            <a:r>
              <a:rPr lang="en-US" sz="2800"/>
              <a:t>Kevin</a:t>
            </a:r>
          </a:p>
        </p:txBody>
      </p:sp>
    </p:spTree>
    <p:extLst>
      <p:ext uri="{BB962C8B-B14F-4D97-AF65-F5344CB8AC3E}">
        <p14:creationId xmlns:p14="http://schemas.microsoft.com/office/powerpoint/2010/main" val="21456868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75A9004-69B5-D8F2-90B0-F3FAE372CCB9}"/>
              </a:ext>
            </a:extLst>
          </p:cNvPr>
          <p:cNvSpPr txBox="1"/>
          <p:nvPr/>
        </p:nvSpPr>
        <p:spPr bwMode="gray">
          <a:xfrm>
            <a:off x="450000" y="345992"/>
            <a:ext cx="11304000" cy="342000"/>
          </a:xfrm>
          <a:prstGeom prst="rect">
            <a:avLst/>
          </a:prstGeom>
        </p:spPr>
        <p:txBody>
          <a:bodyPr vert="horz" lIns="0" tIns="0" rIns="0" bIns="0" rtlCol="0" anchor="t" anchorCtr="0">
            <a:normAutofit/>
          </a:bodyPr>
          <a:lstStyle/>
          <a:p>
            <a:pPr defTabSz="685800">
              <a:lnSpc>
                <a:spcPct val="90000"/>
              </a:lnSpc>
              <a:spcAft>
                <a:spcPts val="600"/>
              </a:spcAft>
              <a:buSzPct val="100000"/>
            </a:pPr>
            <a:endParaRPr lang="en-US" sz="800" b="1" kern="1200">
              <a:latin typeface="+mj-lt"/>
              <a:ea typeface="+mj-ea"/>
              <a:cs typeface="Calibri Light" panose="020F0302020204030204" pitchFamily="34" charset="0"/>
            </a:endParaRPr>
          </a:p>
        </p:txBody>
      </p:sp>
      <p:graphicFrame>
        <p:nvGraphicFramePr>
          <p:cNvPr id="6" name="Content Placeholder 3">
            <a:extLst>
              <a:ext uri="{FF2B5EF4-FFF2-40B4-BE49-F238E27FC236}">
                <a16:creationId xmlns:a16="http://schemas.microsoft.com/office/drawing/2014/main" id="{FE501BDD-E1FD-878D-87F8-B2AB331D2EB5}"/>
              </a:ext>
            </a:extLst>
          </p:cNvPr>
          <p:cNvGraphicFramePr>
            <a:graphicFrameLocks/>
          </p:cNvGraphicFramePr>
          <p:nvPr>
            <p:extLst>
              <p:ext uri="{D42A27DB-BD31-4B8C-83A1-F6EECF244321}">
                <p14:modId xmlns:p14="http://schemas.microsoft.com/office/powerpoint/2010/main" val="490735462"/>
              </p:ext>
            </p:extLst>
          </p:nvPr>
        </p:nvGraphicFramePr>
        <p:xfrm>
          <a:off x="450000" y="971751"/>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Rounded Corners 7">
            <a:extLst>
              <a:ext uri="{FF2B5EF4-FFF2-40B4-BE49-F238E27FC236}">
                <a16:creationId xmlns:a16="http://schemas.microsoft.com/office/drawing/2014/main" id="{31381D0C-541E-9C18-14B4-48FBC53ADA53}"/>
              </a:ext>
            </a:extLst>
          </p:cNvPr>
          <p:cNvSpPr/>
          <p:nvPr/>
        </p:nvSpPr>
        <p:spPr bwMode="gray">
          <a:xfrm>
            <a:off x="3601039" y="5047488"/>
            <a:ext cx="2189030" cy="1354792"/>
          </a:xfrm>
          <a:prstGeom prst="roundRect">
            <a:avLst/>
          </a:prstGeom>
          <a:no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344E61DA-94B5-F8A3-2F37-24C277E4A0BA}"/>
              </a:ext>
            </a:extLst>
          </p:cNvPr>
          <p:cNvSpPr txBox="1"/>
          <p:nvPr/>
        </p:nvSpPr>
        <p:spPr>
          <a:xfrm>
            <a:off x="3759535" y="5344326"/>
            <a:ext cx="2189030" cy="754053"/>
          </a:xfrm>
          <a:prstGeom prst="rect">
            <a:avLst/>
          </a:prstGeom>
          <a:noFill/>
        </p:spPr>
        <p:txBody>
          <a:bodyPr wrap="square" lIns="0" tIns="0" rIns="0" bIns="0" rtlCol="0">
            <a:spAutoFit/>
          </a:bodyPr>
          <a:lstStyle/>
          <a:p>
            <a:pPr>
              <a:spcBef>
                <a:spcPts val="600"/>
              </a:spcBef>
              <a:buSzPct val="100000"/>
            </a:pPr>
            <a:r>
              <a:rPr lang="en-US" sz="2200" b="1">
                <a:solidFill>
                  <a:srgbClr val="313131"/>
                </a:solidFill>
              </a:rPr>
              <a:t>Precision</a:t>
            </a:r>
            <a:r>
              <a:rPr lang="es-MX" sz="2200" b="1">
                <a:solidFill>
                  <a:srgbClr val="313131"/>
                </a:solidFill>
              </a:rPr>
              <a:t> – </a:t>
            </a:r>
            <a:r>
              <a:rPr lang="es-MX" sz="2200" b="1">
                <a:effectLst/>
                <a:latin typeface="Segoe UI" panose="020B0502040204020203" pitchFamily="34" charset="0"/>
              </a:rPr>
              <a:t>94%</a:t>
            </a:r>
            <a:endParaRPr lang="es-MX" sz="2200" b="1">
              <a:solidFill>
                <a:srgbClr val="313131"/>
              </a:solidFill>
            </a:endParaRPr>
          </a:p>
          <a:p>
            <a:pPr>
              <a:spcBef>
                <a:spcPts val="600"/>
              </a:spcBef>
              <a:buSzPct val="100000"/>
            </a:pPr>
            <a:r>
              <a:rPr lang="en-US" sz="2200" b="1">
                <a:solidFill>
                  <a:srgbClr val="313131"/>
                </a:solidFill>
              </a:rPr>
              <a:t>Accuracy</a:t>
            </a:r>
            <a:r>
              <a:rPr lang="es-MX" sz="2200" b="1">
                <a:solidFill>
                  <a:srgbClr val="313131"/>
                </a:solidFill>
              </a:rPr>
              <a:t> – </a:t>
            </a:r>
            <a:r>
              <a:rPr lang="en-US" sz="2200" b="1">
                <a:latin typeface="Segoe UI" panose="020B0502040204020203" pitchFamily="34" charset="0"/>
              </a:rPr>
              <a:t>83%</a:t>
            </a:r>
            <a:endParaRPr lang="en-US" sz="2200" b="1"/>
          </a:p>
        </p:txBody>
      </p:sp>
      <p:cxnSp>
        <p:nvCxnSpPr>
          <p:cNvPr id="10" name="Straight Arrow Connector 9">
            <a:extLst>
              <a:ext uri="{FF2B5EF4-FFF2-40B4-BE49-F238E27FC236}">
                <a16:creationId xmlns:a16="http://schemas.microsoft.com/office/drawing/2014/main" id="{F99D3FFB-405E-1508-D6AB-3E3C57862761}"/>
              </a:ext>
            </a:extLst>
          </p:cNvPr>
          <p:cNvCxnSpPr>
            <a:cxnSpLocks/>
          </p:cNvCxnSpPr>
          <p:nvPr/>
        </p:nvCxnSpPr>
        <p:spPr>
          <a:xfrm>
            <a:off x="4695554" y="4202782"/>
            <a:ext cx="0" cy="739104"/>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0006B762-9D5D-E69D-ADB1-6519451001F2}"/>
              </a:ext>
            </a:extLst>
          </p:cNvPr>
          <p:cNvSpPr>
            <a:spLocks noGrp="1"/>
          </p:cNvSpPr>
          <p:nvPr>
            <p:ph type="title"/>
          </p:nvPr>
        </p:nvSpPr>
        <p:spPr>
          <a:xfrm>
            <a:off x="450000" y="342000"/>
            <a:ext cx="11304000" cy="342000"/>
          </a:xfrm>
        </p:spPr>
        <p:txBody>
          <a:bodyPr/>
          <a:lstStyle/>
          <a:p>
            <a:r>
              <a:rPr lang="es-MX">
                <a:cs typeface="Calibri Light"/>
              </a:rPr>
              <a:t>T</a:t>
            </a:r>
            <a:r>
              <a:rPr lang="en-US">
                <a:cs typeface="Calibri Light"/>
              </a:rPr>
              <a:t>he Modeling Process</a:t>
            </a:r>
          </a:p>
        </p:txBody>
      </p:sp>
      <p:cxnSp>
        <p:nvCxnSpPr>
          <p:cNvPr id="14" name="Straight Connector 13">
            <a:extLst>
              <a:ext uri="{FF2B5EF4-FFF2-40B4-BE49-F238E27FC236}">
                <a16:creationId xmlns:a16="http://schemas.microsoft.com/office/drawing/2014/main" id="{D26A1FDE-7B56-6BFE-A0B9-2E4C86712436}"/>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45881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62752-F234-4FF6-8183-B8EA493AE4B2}"/>
              </a:ext>
            </a:extLst>
          </p:cNvPr>
          <p:cNvSpPr>
            <a:spLocks noGrp="1"/>
          </p:cNvSpPr>
          <p:nvPr>
            <p:ph type="title"/>
          </p:nvPr>
        </p:nvSpPr>
        <p:spPr/>
        <p:txBody>
          <a:bodyPr/>
          <a:lstStyle/>
          <a:p>
            <a:r>
              <a:rPr lang="en-US"/>
              <a:t>Delivering Value</a:t>
            </a:r>
          </a:p>
        </p:txBody>
      </p:sp>
      <p:sp>
        <p:nvSpPr>
          <p:cNvPr id="3" name="Text Placeholder 2">
            <a:extLst>
              <a:ext uri="{FF2B5EF4-FFF2-40B4-BE49-F238E27FC236}">
                <a16:creationId xmlns:a16="http://schemas.microsoft.com/office/drawing/2014/main" id="{EE2CC1FD-971A-F9CE-6434-FC8EB33581C6}"/>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13977265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DDB646-E00F-AC91-7C56-FF268D1CB9D0}"/>
              </a:ext>
            </a:extLst>
          </p:cNvPr>
          <p:cNvSpPr>
            <a:spLocks noGrp="1"/>
          </p:cNvSpPr>
          <p:nvPr>
            <p:ph type="title"/>
          </p:nvPr>
        </p:nvSpPr>
        <p:spPr>
          <a:xfrm>
            <a:off x="450000" y="345992"/>
            <a:ext cx="11304000" cy="342000"/>
          </a:xfrm>
        </p:spPr>
        <p:txBody>
          <a:bodyPr anchor="t">
            <a:normAutofit/>
          </a:bodyPr>
          <a:lstStyle/>
          <a:p>
            <a:r>
              <a:rPr lang="en-US">
                <a:cs typeface="Calibri Light"/>
              </a:rPr>
              <a:t>Delivering Value</a:t>
            </a:r>
          </a:p>
        </p:txBody>
      </p:sp>
      <p:cxnSp>
        <p:nvCxnSpPr>
          <p:cNvPr id="2" name="Straight Connector 1">
            <a:extLst>
              <a:ext uri="{FF2B5EF4-FFF2-40B4-BE49-F238E27FC236}">
                <a16:creationId xmlns:a16="http://schemas.microsoft.com/office/drawing/2014/main" id="{0FB32C1D-1953-9C03-AD03-37FFCF09A31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 Placeholder 1">
            <a:extLst>
              <a:ext uri="{FF2B5EF4-FFF2-40B4-BE49-F238E27FC236}">
                <a16:creationId xmlns:a16="http://schemas.microsoft.com/office/drawing/2014/main" id="{255E5197-91F6-466B-D2FC-E63E3DD68832}"/>
              </a:ext>
            </a:extLst>
          </p:cNvPr>
          <p:cNvSpPr>
            <a:spLocks noGrp="1"/>
          </p:cNvSpPr>
          <p:nvPr>
            <p:ph type="body" sz="quarter" idx="13"/>
          </p:nvPr>
        </p:nvSpPr>
        <p:spPr>
          <a:xfrm>
            <a:off x="84418" y="4214909"/>
            <a:ext cx="2805537" cy="1524001"/>
          </a:xfrm>
        </p:spPr>
        <p:txBody>
          <a:bodyPr/>
          <a:lstStyle/>
          <a:p>
            <a:r>
              <a:rPr lang="en-US" dirty="0"/>
              <a:t>- Decrease customer churn</a:t>
            </a:r>
            <a:br>
              <a:rPr lang="en-US" dirty="0"/>
            </a:br>
            <a:endParaRPr lang="en-US" dirty="0"/>
          </a:p>
          <a:p>
            <a:r>
              <a:rPr lang="en-US" dirty="0"/>
              <a:t>- Increased customer loyalty</a:t>
            </a:r>
          </a:p>
        </p:txBody>
      </p:sp>
      <p:sp>
        <p:nvSpPr>
          <p:cNvPr id="5" name="Text Placeholder 1">
            <a:extLst>
              <a:ext uri="{FF2B5EF4-FFF2-40B4-BE49-F238E27FC236}">
                <a16:creationId xmlns:a16="http://schemas.microsoft.com/office/drawing/2014/main" id="{20677B0F-7F92-2617-3D8F-A21AE836FBDA}"/>
              </a:ext>
            </a:extLst>
          </p:cNvPr>
          <p:cNvSpPr txBox="1">
            <a:spLocks/>
          </p:cNvSpPr>
          <p:nvPr/>
        </p:nvSpPr>
        <p:spPr>
          <a:xfrm>
            <a:off x="3735605" y="4245349"/>
            <a:ext cx="2709333" cy="1047048"/>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ustomer retention</a:t>
            </a:r>
            <a:br>
              <a:rPr lang="en-US" dirty="0"/>
            </a:br>
            <a:endParaRPr lang="en-US" dirty="0"/>
          </a:p>
          <a:p>
            <a:r>
              <a:rPr lang="en-US" dirty="0"/>
              <a:t>- Operational improvements</a:t>
            </a:r>
          </a:p>
        </p:txBody>
      </p:sp>
      <p:sp>
        <p:nvSpPr>
          <p:cNvPr id="7" name="Text Placeholder 1">
            <a:extLst>
              <a:ext uri="{FF2B5EF4-FFF2-40B4-BE49-F238E27FC236}">
                <a16:creationId xmlns:a16="http://schemas.microsoft.com/office/drawing/2014/main" id="{EDB0AAB5-5EF7-D41A-55A8-92556DB54CC6}"/>
              </a:ext>
            </a:extLst>
          </p:cNvPr>
          <p:cNvSpPr txBox="1">
            <a:spLocks/>
          </p:cNvSpPr>
          <p:nvPr/>
        </p:nvSpPr>
        <p:spPr>
          <a:xfrm>
            <a:off x="6748215" y="4248168"/>
            <a:ext cx="2492144"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Financial stability</a:t>
            </a:r>
            <a:br>
              <a:rPr lang="en-US" dirty="0"/>
            </a:br>
            <a:endParaRPr lang="en-US" dirty="0"/>
          </a:p>
          <a:p>
            <a:r>
              <a:rPr lang="en-US" dirty="0"/>
              <a:t>- Long-term profitability</a:t>
            </a:r>
          </a:p>
        </p:txBody>
      </p:sp>
      <p:sp>
        <p:nvSpPr>
          <p:cNvPr id="8" name="Text Placeholder 1">
            <a:extLst>
              <a:ext uri="{FF2B5EF4-FFF2-40B4-BE49-F238E27FC236}">
                <a16:creationId xmlns:a16="http://schemas.microsoft.com/office/drawing/2014/main" id="{80B79568-C0E4-30CA-C069-658E4D167AF7}"/>
              </a:ext>
            </a:extLst>
          </p:cNvPr>
          <p:cNvSpPr txBox="1">
            <a:spLocks/>
          </p:cNvSpPr>
          <p:nvPr/>
        </p:nvSpPr>
        <p:spPr>
          <a:xfrm>
            <a:off x="9652951" y="4214908"/>
            <a:ext cx="2709333"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Address churn</a:t>
            </a:r>
            <a:br>
              <a:rPr lang="en-US" dirty="0"/>
            </a:br>
            <a:endParaRPr lang="en-US" dirty="0"/>
          </a:p>
          <a:p>
            <a:r>
              <a:rPr lang="en-US" dirty="0"/>
              <a:t>- Outperform in customer retention</a:t>
            </a:r>
          </a:p>
        </p:txBody>
      </p:sp>
      <p:sp>
        <p:nvSpPr>
          <p:cNvPr id="11" name="Rectangle 10" descr="Downward trend graph with solid fill">
            <a:extLst>
              <a:ext uri="{FF2B5EF4-FFF2-40B4-BE49-F238E27FC236}">
                <a16:creationId xmlns:a16="http://schemas.microsoft.com/office/drawing/2014/main" id="{E2E7DC1D-50B9-83E7-BC80-4CFB6C555A31}"/>
              </a:ext>
            </a:extLst>
          </p:cNvPr>
          <p:cNvSpPr/>
          <p:nvPr/>
        </p:nvSpPr>
        <p:spPr>
          <a:xfrm>
            <a:off x="637574" y="1178353"/>
            <a:ext cx="1383136" cy="1490133"/>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2" name="Rectangle 11" descr="Head with Gears">
            <a:extLst>
              <a:ext uri="{FF2B5EF4-FFF2-40B4-BE49-F238E27FC236}">
                <a16:creationId xmlns:a16="http://schemas.microsoft.com/office/drawing/2014/main" id="{75FDEFD4-E839-9B61-28DC-A6DEC006B885}"/>
              </a:ext>
            </a:extLst>
          </p:cNvPr>
          <p:cNvSpPr/>
          <p:nvPr/>
        </p:nvSpPr>
        <p:spPr>
          <a:xfrm>
            <a:off x="3942523" y="1178353"/>
            <a:ext cx="1532588" cy="1227942"/>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Rectangle 12" descr="Plant">
            <a:extLst>
              <a:ext uri="{FF2B5EF4-FFF2-40B4-BE49-F238E27FC236}">
                <a16:creationId xmlns:a16="http://schemas.microsoft.com/office/drawing/2014/main" id="{D8983328-3B57-E832-704B-1A7F93AC34D3}"/>
              </a:ext>
            </a:extLst>
          </p:cNvPr>
          <p:cNvSpPr/>
          <p:nvPr/>
        </p:nvSpPr>
        <p:spPr>
          <a:xfrm>
            <a:off x="6990523" y="972174"/>
            <a:ext cx="1532588" cy="143412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4" name="Rectangle 13" descr="Checkmark">
            <a:extLst>
              <a:ext uri="{FF2B5EF4-FFF2-40B4-BE49-F238E27FC236}">
                <a16:creationId xmlns:a16="http://schemas.microsoft.com/office/drawing/2014/main" id="{569FD457-BA5E-84B1-E7D1-697C40630AAF}"/>
              </a:ext>
            </a:extLst>
          </p:cNvPr>
          <p:cNvSpPr/>
          <p:nvPr/>
        </p:nvSpPr>
        <p:spPr>
          <a:xfrm>
            <a:off x="10204723" y="916163"/>
            <a:ext cx="1383136" cy="1490133"/>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5" name="Group 14">
            <a:extLst>
              <a:ext uri="{FF2B5EF4-FFF2-40B4-BE49-F238E27FC236}">
                <a16:creationId xmlns:a16="http://schemas.microsoft.com/office/drawing/2014/main" id="{46A0403A-B17C-EFE4-826E-8F1615CC716F}"/>
              </a:ext>
            </a:extLst>
          </p:cNvPr>
          <p:cNvGrpSpPr/>
          <p:nvPr/>
        </p:nvGrpSpPr>
        <p:grpSpPr>
          <a:xfrm>
            <a:off x="450000" y="2967400"/>
            <a:ext cx="1800000" cy="720000"/>
            <a:chOff x="592266" y="1347285"/>
            <a:chExt cx="1800000" cy="720000"/>
          </a:xfrm>
        </p:grpSpPr>
        <p:sp>
          <p:nvSpPr>
            <p:cNvPr id="16" name="Rectangle 15">
              <a:extLst>
                <a:ext uri="{FF2B5EF4-FFF2-40B4-BE49-F238E27FC236}">
                  <a16:creationId xmlns:a16="http://schemas.microsoft.com/office/drawing/2014/main" id="{6FA226ED-D0E3-756E-82BB-1A5C5D874E88}"/>
                </a:ext>
              </a:extLst>
            </p:cNvPr>
            <p:cNvSpPr/>
            <p:nvPr/>
          </p:nvSpPr>
          <p:spPr>
            <a:xfrm>
              <a:off x="592266" y="1347285"/>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TextBox 16">
              <a:extLst>
                <a:ext uri="{FF2B5EF4-FFF2-40B4-BE49-F238E27FC236}">
                  <a16:creationId xmlns:a16="http://schemas.microsoft.com/office/drawing/2014/main" id="{0A23338B-6B4F-76A5-4892-3EDB3DEADACC}"/>
                </a:ext>
              </a:extLst>
            </p:cNvPr>
            <p:cNvSpPr txBox="1"/>
            <p:nvPr/>
          </p:nvSpPr>
          <p:spPr>
            <a:xfrm>
              <a:off x="592266" y="1347285"/>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Reduced Customer Churn</a:t>
              </a:r>
            </a:p>
          </p:txBody>
        </p:sp>
      </p:grpSp>
      <p:grpSp>
        <p:nvGrpSpPr>
          <p:cNvPr id="18" name="Group 17">
            <a:extLst>
              <a:ext uri="{FF2B5EF4-FFF2-40B4-BE49-F238E27FC236}">
                <a16:creationId xmlns:a16="http://schemas.microsoft.com/office/drawing/2014/main" id="{32C6482C-7454-EC7B-A9F1-782D311285F1}"/>
              </a:ext>
            </a:extLst>
          </p:cNvPr>
          <p:cNvGrpSpPr/>
          <p:nvPr/>
        </p:nvGrpSpPr>
        <p:grpSpPr>
          <a:xfrm>
            <a:off x="3808817" y="2965822"/>
            <a:ext cx="1800000" cy="720000"/>
            <a:chOff x="3754182" y="1334030"/>
            <a:chExt cx="1800000" cy="720000"/>
          </a:xfrm>
        </p:grpSpPr>
        <p:sp>
          <p:nvSpPr>
            <p:cNvPr id="19" name="Rectangle 18">
              <a:extLst>
                <a:ext uri="{FF2B5EF4-FFF2-40B4-BE49-F238E27FC236}">
                  <a16:creationId xmlns:a16="http://schemas.microsoft.com/office/drawing/2014/main" id="{902231D2-56DD-4630-DE20-DB554FFF9A18}"/>
                </a:ext>
              </a:extLst>
            </p:cNvPr>
            <p:cNvSpPr/>
            <p:nvPr/>
          </p:nvSpPr>
          <p:spPr>
            <a:xfrm>
              <a:off x="3754182" y="1334030"/>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TextBox 19">
              <a:extLst>
                <a:ext uri="{FF2B5EF4-FFF2-40B4-BE49-F238E27FC236}">
                  <a16:creationId xmlns:a16="http://schemas.microsoft.com/office/drawing/2014/main" id="{433F869A-1310-6A14-C2D5-CFBF22BF645D}"/>
                </a:ext>
              </a:extLst>
            </p:cNvPr>
            <p:cNvSpPr txBox="1"/>
            <p:nvPr/>
          </p:nvSpPr>
          <p:spPr>
            <a:xfrm>
              <a:off x="3754182" y="1334030"/>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Informed Decision Making</a:t>
              </a:r>
            </a:p>
          </p:txBody>
        </p:sp>
      </p:grpSp>
      <p:grpSp>
        <p:nvGrpSpPr>
          <p:cNvPr id="21" name="Group 20">
            <a:extLst>
              <a:ext uri="{FF2B5EF4-FFF2-40B4-BE49-F238E27FC236}">
                <a16:creationId xmlns:a16="http://schemas.microsoft.com/office/drawing/2014/main" id="{20247EF7-D95D-57A5-B6E3-A8A675B7CCC0}"/>
              </a:ext>
            </a:extLst>
          </p:cNvPr>
          <p:cNvGrpSpPr/>
          <p:nvPr/>
        </p:nvGrpSpPr>
        <p:grpSpPr>
          <a:xfrm>
            <a:off x="6856817" y="2951377"/>
            <a:ext cx="1800000" cy="720000"/>
            <a:chOff x="6929346" y="1267768"/>
            <a:chExt cx="1800000" cy="720000"/>
          </a:xfrm>
        </p:grpSpPr>
        <p:sp>
          <p:nvSpPr>
            <p:cNvPr id="22" name="Rectangle 21">
              <a:extLst>
                <a:ext uri="{FF2B5EF4-FFF2-40B4-BE49-F238E27FC236}">
                  <a16:creationId xmlns:a16="http://schemas.microsoft.com/office/drawing/2014/main" id="{AFA458ED-DA82-17DB-9FF2-194135C25D50}"/>
                </a:ext>
              </a:extLst>
            </p:cNvPr>
            <p:cNvSpPr/>
            <p:nvPr/>
          </p:nvSpPr>
          <p:spPr>
            <a:xfrm>
              <a:off x="6929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TextBox 22">
              <a:extLst>
                <a:ext uri="{FF2B5EF4-FFF2-40B4-BE49-F238E27FC236}">
                  <a16:creationId xmlns:a16="http://schemas.microsoft.com/office/drawing/2014/main" id="{81825219-F8C4-C466-A88C-DD018D8CF73D}"/>
                </a:ext>
              </a:extLst>
            </p:cNvPr>
            <p:cNvSpPr txBox="1"/>
            <p:nvPr/>
          </p:nvSpPr>
          <p:spPr>
            <a:xfrm>
              <a:off x="6929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Sustainable Revenue Growth</a:t>
              </a:r>
            </a:p>
          </p:txBody>
        </p:sp>
      </p:grpSp>
      <p:grpSp>
        <p:nvGrpSpPr>
          <p:cNvPr id="24" name="Group 23">
            <a:extLst>
              <a:ext uri="{FF2B5EF4-FFF2-40B4-BE49-F238E27FC236}">
                <a16:creationId xmlns:a16="http://schemas.microsoft.com/office/drawing/2014/main" id="{C6ACFF3A-7DCF-B56B-EE47-EF8D423DF262}"/>
              </a:ext>
            </a:extLst>
          </p:cNvPr>
          <p:cNvGrpSpPr/>
          <p:nvPr/>
        </p:nvGrpSpPr>
        <p:grpSpPr>
          <a:xfrm>
            <a:off x="9870140" y="2965822"/>
            <a:ext cx="1800000" cy="720000"/>
            <a:chOff x="9998346" y="1267768"/>
            <a:chExt cx="1800000" cy="720000"/>
          </a:xfrm>
        </p:grpSpPr>
        <p:sp>
          <p:nvSpPr>
            <p:cNvPr id="25" name="Rectangle 24">
              <a:extLst>
                <a:ext uri="{FF2B5EF4-FFF2-40B4-BE49-F238E27FC236}">
                  <a16:creationId xmlns:a16="http://schemas.microsoft.com/office/drawing/2014/main" id="{05682DF8-03E9-9512-81FC-7D9710C59982}"/>
                </a:ext>
              </a:extLst>
            </p:cNvPr>
            <p:cNvSpPr/>
            <p:nvPr/>
          </p:nvSpPr>
          <p:spPr>
            <a:xfrm>
              <a:off x="9998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TextBox 25">
              <a:extLst>
                <a:ext uri="{FF2B5EF4-FFF2-40B4-BE49-F238E27FC236}">
                  <a16:creationId xmlns:a16="http://schemas.microsoft.com/office/drawing/2014/main" id="{E2C2E655-2524-0F35-61B9-6C7A2AB4F372}"/>
                </a:ext>
              </a:extLst>
            </p:cNvPr>
            <p:cNvSpPr txBox="1"/>
            <p:nvPr/>
          </p:nvSpPr>
          <p:spPr>
            <a:xfrm>
              <a:off x="9998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Competitive Advantage</a:t>
              </a:r>
            </a:p>
          </p:txBody>
        </p:sp>
      </p:grpSp>
    </p:spTree>
    <p:extLst>
      <p:ext uri="{BB962C8B-B14F-4D97-AF65-F5344CB8AC3E}">
        <p14:creationId xmlns:p14="http://schemas.microsoft.com/office/powerpoint/2010/main" val="276602633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9A175-2162-3CC3-C374-6206E8FB8B5F}"/>
              </a:ext>
            </a:extLst>
          </p:cNvPr>
          <p:cNvSpPr>
            <a:spLocks noGrp="1"/>
          </p:cNvSpPr>
          <p:nvPr>
            <p:ph type="title"/>
          </p:nvPr>
        </p:nvSpPr>
        <p:spPr/>
        <p:txBody>
          <a:bodyPr/>
          <a:lstStyle/>
          <a:p>
            <a:r>
              <a:rPr lang="en-US"/>
              <a:t>Moving Forward</a:t>
            </a:r>
          </a:p>
        </p:txBody>
      </p:sp>
      <p:sp>
        <p:nvSpPr>
          <p:cNvPr id="3" name="Text Placeholder 2">
            <a:extLst>
              <a:ext uri="{FF2B5EF4-FFF2-40B4-BE49-F238E27FC236}">
                <a16:creationId xmlns:a16="http://schemas.microsoft.com/office/drawing/2014/main" id="{B4AA5C87-CF14-CB0D-3476-9EA55D205098}"/>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896605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1290-765E-8AD5-9B3F-92217DDF9414}"/>
              </a:ext>
            </a:extLst>
          </p:cNvPr>
          <p:cNvSpPr>
            <a:spLocks noGrp="1"/>
          </p:cNvSpPr>
          <p:nvPr>
            <p:ph type="title"/>
          </p:nvPr>
        </p:nvSpPr>
        <p:spPr>
          <a:xfrm>
            <a:off x="450000" y="345664"/>
            <a:ext cx="11304000" cy="340136"/>
          </a:xfrm>
        </p:spPr>
        <p:txBody>
          <a:bodyPr anchor="t">
            <a:normAutofit/>
          </a:bodyPr>
          <a:lstStyle/>
          <a:p>
            <a:r>
              <a:rPr lang="en-US"/>
              <a:t>Conclusions and Takeaways</a:t>
            </a:r>
          </a:p>
        </p:txBody>
      </p:sp>
      <p:graphicFrame>
        <p:nvGraphicFramePr>
          <p:cNvPr id="16" name="Content Placeholder 3">
            <a:extLst>
              <a:ext uri="{FF2B5EF4-FFF2-40B4-BE49-F238E27FC236}">
                <a16:creationId xmlns:a16="http://schemas.microsoft.com/office/drawing/2014/main" id="{196D1D32-332F-953B-6A67-9C1A24F44C00}"/>
              </a:ext>
            </a:extLst>
          </p:cNvPr>
          <p:cNvGraphicFramePr>
            <a:graphicFrameLocks noGrp="1"/>
          </p:cNvGraphicFramePr>
          <p:nvPr>
            <p:ph idx="1"/>
            <p:extLst>
              <p:ext uri="{D42A27DB-BD31-4B8C-83A1-F6EECF244321}">
                <p14:modId xmlns:p14="http://schemas.microsoft.com/office/powerpoint/2010/main" val="2055459443"/>
              </p:ext>
            </p:extLst>
          </p:nvPr>
        </p:nvGraphicFramePr>
        <p:xfrm>
          <a:off x="720335" y="1129553"/>
          <a:ext cx="10662649" cy="4077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 name="Straight Connector 1">
            <a:extLst>
              <a:ext uri="{FF2B5EF4-FFF2-40B4-BE49-F238E27FC236}">
                <a16:creationId xmlns:a16="http://schemas.microsoft.com/office/drawing/2014/main" id="{3C3BA6AC-3738-2821-8C75-78D953AE2AB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98004E8D-E78D-E040-B150-4C6C2489378F}"/>
              </a:ext>
            </a:extLst>
          </p:cNvPr>
          <p:cNvSpPr txBox="1"/>
          <p:nvPr/>
        </p:nvSpPr>
        <p:spPr>
          <a:xfrm>
            <a:off x="2182492" y="4850348"/>
            <a:ext cx="3550023" cy="984885"/>
          </a:xfrm>
          <a:prstGeom prst="rect">
            <a:avLst/>
          </a:prstGeom>
          <a:noFill/>
        </p:spPr>
        <p:txBody>
          <a:bodyPr wrap="square" lIns="0" tIns="0" rIns="0" bIns="0" rtlCol="0">
            <a:spAutoFit/>
          </a:bodyPr>
          <a:lstStyle/>
          <a:p>
            <a:pPr marL="203200" indent="-203200" algn="ctr">
              <a:spcBef>
                <a:spcPts val="600"/>
              </a:spcBef>
              <a:buSzPct val="100000"/>
              <a:buFont typeface="Arial"/>
              <a:buChar char="•"/>
            </a:pPr>
            <a:r>
              <a:rPr lang="en-US">
                <a:solidFill>
                  <a:srgbClr val="313131"/>
                </a:solidFill>
              </a:rPr>
              <a:t>Justification for your decisions</a:t>
            </a:r>
          </a:p>
          <a:p>
            <a:pPr marL="203200" indent="-203200" algn="ctr">
              <a:spcBef>
                <a:spcPts val="600"/>
              </a:spcBef>
              <a:buSzPct val="100000"/>
              <a:buFont typeface="Arial"/>
              <a:buChar char="•"/>
            </a:pPr>
            <a:r>
              <a:rPr lang="en-US">
                <a:solidFill>
                  <a:srgbClr val="313131"/>
                </a:solidFill>
              </a:rPr>
              <a:t>Confidence behind your choices</a:t>
            </a:r>
          </a:p>
          <a:p>
            <a:pPr marL="203200" indent="-203200" algn="ctr">
              <a:spcBef>
                <a:spcPts val="600"/>
              </a:spcBef>
              <a:buSzPct val="100000"/>
              <a:buFont typeface="Arial"/>
              <a:buChar char="•"/>
            </a:pPr>
            <a:r>
              <a:rPr lang="en-US">
                <a:solidFill>
                  <a:srgbClr val="313131"/>
                </a:solidFill>
              </a:rPr>
              <a:t>Develop retention strategies</a:t>
            </a:r>
          </a:p>
        </p:txBody>
      </p:sp>
      <p:sp>
        <p:nvSpPr>
          <p:cNvPr id="6" name="TextBox 5">
            <a:extLst>
              <a:ext uri="{FF2B5EF4-FFF2-40B4-BE49-F238E27FC236}">
                <a16:creationId xmlns:a16="http://schemas.microsoft.com/office/drawing/2014/main" id="{C5F23693-0F9D-B6BA-96C5-B20A5D9FB3F6}"/>
              </a:ext>
            </a:extLst>
          </p:cNvPr>
          <p:cNvSpPr txBox="1"/>
          <p:nvPr/>
        </p:nvSpPr>
        <p:spPr>
          <a:xfrm>
            <a:off x="6252471" y="4757868"/>
            <a:ext cx="3836893" cy="984885"/>
          </a:xfrm>
          <a:prstGeom prst="rect">
            <a:avLst/>
          </a:prstGeom>
          <a:noFill/>
        </p:spPr>
        <p:txBody>
          <a:bodyPr wrap="square" lIns="0" tIns="0" rIns="0" bIns="0" rtlCol="0">
            <a:spAutoFit/>
          </a:bodyPr>
          <a:lstStyle/>
          <a:p>
            <a:pPr marL="285750" indent="-285750" algn="ctr">
              <a:spcBef>
                <a:spcPts val="600"/>
              </a:spcBef>
              <a:buSzPct val="100000"/>
              <a:buFont typeface="Arial" panose="020B0604020202020204" pitchFamily="34" charset="0"/>
              <a:buChar char="•"/>
            </a:pPr>
            <a:r>
              <a:rPr lang="en-US">
                <a:solidFill>
                  <a:srgbClr val="313131"/>
                </a:solidFill>
              </a:rPr>
              <a:t>Reduce customer churn</a:t>
            </a:r>
          </a:p>
          <a:p>
            <a:pPr marL="203200" indent="-203200" algn="ctr">
              <a:spcBef>
                <a:spcPts val="600"/>
              </a:spcBef>
              <a:buSzPct val="100000"/>
              <a:buFont typeface="Arial"/>
              <a:buChar char="•"/>
            </a:pPr>
            <a:r>
              <a:rPr lang="en-US">
                <a:solidFill>
                  <a:srgbClr val="313131"/>
                </a:solidFill>
              </a:rPr>
              <a:t>Keep revenue within your company</a:t>
            </a:r>
          </a:p>
          <a:p>
            <a:pPr marL="203200" indent="-203200" algn="ctr">
              <a:spcBef>
                <a:spcPts val="600"/>
              </a:spcBef>
              <a:buSzPct val="100000"/>
              <a:buFont typeface="Arial"/>
              <a:buChar char="•"/>
            </a:pPr>
            <a:r>
              <a:rPr lang="en-US">
                <a:solidFill>
                  <a:srgbClr val="313131"/>
                </a:solidFill>
              </a:rPr>
              <a:t>Prevents revenue going to competitor</a:t>
            </a:r>
          </a:p>
        </p:txBody>
      </p:sp>
    </p:spTree>
    <p:extLst>
      <p:ext uri="{BB962C8B-B14F-4D97-AF65-F5344CB8AC3E}">
        <p14:creationId xmlns:p14="http://schemas.microsoft.com/office/powerpoint/2010/main" val="2234920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0000" y="1728217"/>
            <a:ext cx="11304000" cy="1592403"/>
          </a:xfrm>
        </p:spPr>
        <p:txBody>
          <a:bodyPr vert="horz" lIns="0" tIns="0" rIns="0" bIns="0" rtlCol="0" anchor="b" anchorCtr="0">
            <a:normAutofit/>
          </a:bodyPr>
          <a:lstStyle/>
          <a:p>
            <a:r>
              <a:rPr lang="en-US" b="1" kern="1200">
                <a:latin typeface="+mj-lt"/>
                <a:ea typeface="Open Sans" panose="020B0606030504020204" pitchFamily="34" charset="0"/>
                <a:cs typeface="Open Sans" panose="020B0606030504020204" pitchFamily="34" charset="0"/>
              </a:rPr>
              <a:t>Question &amp; Answers</a:t>
            </a:r>
          </a:p>
        </p:txBody>
      </p:sp>
      <p:sp>
        <p:nvSpPr>
          <p:cNvPr id="2" name="TextBox 1">
            <a:extLst>
              <a:ext uri="{FF2B5EF4-FFF2-40B4-BE49-F238E27FC236}">
                <a16:creationId xmlns:a16="http://schemas.microsoft.com/office/drawing/2014/main" id="{43DC8388-6C68-0A9A-F032-537486E94D8A}"/>
              </a:ext>
            </a:extLst>
          </p:cNvPr>
          <p:cNvSpPr txBox="1"/>
          <p:nvPr/>
        </p:nvSpPr>
        <p:spPr bwMode="gray">
          <a:xfrm>
            <a:off x="450000" y="3474720"/>
            <a:ext cx="11304000" cy="1566532"/>
          </a:xfrm>
          <a:prstGeom prst="rect">
            <a:avLst/>
          </a:prstGeom>
        </p:spPr>
        <p:txBody>
          <a:bodyPr rot="0" spcFirstLastPara="0" vertOverflow="overflow" horzOverflow="overflow" vert="horz" lIns="0" tIns="0" rIns="0" bIns="0" numCol="1" spcCol="0" rtlCol="0" fromWordArt="0" anchorCtr="0" forceAA="0" compatLnSpc="1">
            <a:prstTxWarp prst="textNoShape">
              <a:avLst/>
            </a:prstTxWarp>
            <a:normAutofit/>
          </a:bodyPr>
          <a:lstStyle/>
          <a:p>
            <a:pPr defTabSz="685800">
              <a:lnSpc>
                <a:spcPct val="95000"/>
              </a:lnSpc>
              <a:spcBef>
                <a:spcPts val="200"/>
              </a:spcBef>
              <a:buSzPct val="100000"/>
            </a:pPr>
            <a:r>
              <a:rPr lang="en-US" sz="3600" b="0" kern="1200">
                <a:solidFill>
                  <a:schemeClr val="bg1"/>
                </a:solidFill>
                <a:latin typeface="+mn-lt"/>
                <a:ea typeface="+mn-ea"/>
                <a:cs typeface="Calibri Light" panose="020F0302020204030204" pitchFamily="34" charset="0"/>
              </a:rPr>
              <a:t>Thank you for your time. We're now open for any questions you may have.</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14" descr="A person with long black hair wearing a green shirt&#10;&#10;Description automatically generated">
            <a:extLst>
              <a:ext uri="{FF2B5EF4-FFF2-40B4-BE49-F238E27FC236}">
                <a16:creationId xmlns:a16="http://schemas.microsoft.com/office/drawing/2014/main" id="{5A4C4F8D-95F3-D54A-CDEA-4C98B05A5EDE}"/>
              </a:ext>
            </a:extLst>
          </p:cNvPr>
          <p:cNvPicPr>
            <a:picLocks noGrp="1"/>
          </p:cNvPicPr>
          <p:nvPr>
            <p:ph type="pic" sz="quarter" idx="25"/>
          </p:nvPr>
        </p:nvPicPr>
        <p:blipFill rotWithShape="1">
          <a:blip r:embed="rId3"/>
          <a:srcRect l="10194" r="10194"/>
          <a:stretch/>
        </p:blipFill>
        <p:spPr>
          <a:xfrm>
            <a:off x="450000" y="1880213"/>
            <a:ext cx="1476000" cy="1476000"/>
          </a:xfrm>
          <a:prstGeom prst="rect">
            <a:avLst/>
          </a:prstGeom>
          <a:noFill/>
        </p:spPr>
      </p:pic>
      <p:pic>
        <p:nvPicPr>
          <p:cNvPr id="25" name="Picture Placeholder 14">
            <a:extLst>
              <a:ext uri="{FF2B5EF4-FFF2-40B4-BE49-F238E27FC236}">
                <a16:creationId xmlns:a16="http://schemas.microsoft.com/office/drawing/2014/main" id="{59393852-9338-1D56-7AC8-B70E16D8B6E2}"/>
              </a:ext>
            </a:extLst>
          </p:cNvPr>
          <p:cNvPicPr>
            <a:picLocks noGrp="1"/>
          </p:cNvPicPr>
          <p:nvPr>
            <p:ph type="pic" sz="quarter" idx="27"/>
          </p:nvPr>
        </p:nvPicPr>
        <p:blipFill>
          <a:blip r:embed="rId4"/>
          <a:srcRect t="18772" b="18772"/>
          <a:stretch/>
        </p:blipFill>
        <p:spPr>
          <a:xfrm>
            <a:off x="6256338" y="1879600"/>
            <a:ext cx="1476375" cy="1476375"/>
          </a:xfrm>
          <a:prstGeom prst="rect">
            <a:avLst/>
          </a:prstGeom>
          <a:noFill/>
        </p:spPr>
      </p:pic>
      <p:pic>
        <p:nvPicPr>
          <p:cNvPr id="24" name="Picture Placeholder 17" descr="A person with long hair wearing a white jacket&#10;&#10;Description automatically generated">
            <a:extLst>
              <a:ext uri="{FF2B5EF4-FFF2-40B4-BE49-F238E27FC236}">
                <a16:creationId xmlns:a16="http://schemas.microsoft.com/office/drawing/2014/main" id="{35C85D1C-8E5A-D92C-C245-44DFD96AACEE}"/>
              </a:ext>
            </a:extLst>
          </p:cNvPr>
          <p:cNvPicPr>
            <a:picLocks noGrp="1" noChangeAspect="1"/>
          </p:cNvPicPr>
          <p:nvPr>
            <p:ph type="pic" sz="quarter" idx="31"/>
          </p:nvPr>
        </p:nvPicPr>
        <p:blipFill rotWithShape="1">
          <a:blip r:embed="rId5"/>
          <a:srcRect l="-2459" t="11475" r="2459" b="22404"/>
          <a:stretch/>
        </p:blipFill>
        <p:spPr>
          <a:xfrm>
            <a:off x="6256583" y="4256213"/>
            <a:ext cx="1476003" cy="1463917"/>
          </a:xfrm>
          <a:prstGeom prst="rect">
            <a:avLst/>
          </a:prstGeom>
          <a:noFill/>
        </p:spPr>
      </p:pic>
      <p:sp>
        <p:nvSpPr>
          <p:cNvPr id="4" name="Text Placeholder 3"/>
          <p:cNvSpPr>
            <a:spLocks noGrp="1"/>
          </p:cNvSpPr>
          <p:nvPr>
            <p:ph type="body" sz="quarter" idx="32"/>
          </p:nvPr>
        </p:nvSpPr>
        <p:spPr>
          <a:xfrm>
            <a:off x="2104052" y="1880213"/>
            <a:ext cx="3846100" cy="1944000"/>
          </a:xfrm>
        </p:spPr>
        <p:txBody>
          <a:bodyPr vert="horz" lIns="0" tIns="0" rIns="0" bIns="0" rtlCol="0" anchor="t">
            <a:normAutofit/>
          </a:bodyPr>
          <a:lstStyle/>
          <a:p>
            <a:pPr algn="ctr"/>
            <a:r>
              <a:rPr lang="en-US"/>
              <a:t>Nicole Chavarria</a:t>
            </a:r>
          </a:p>
          <a:p>
            <a:pPr marL="0" lvl="1" indent="0" algn="ctr">
              <a:buNone/>
            </a:pPr>
            <a:endParaRPr lang="en-US"/>
          </a:p>
        </p:txBody>
      </p:sp>
      <p:sp>
        <p:nvSpPr>
          <p:cNvPr id="27" name="Text Placeholder 26"/>
          <p:cNvSpPr>
            <a:spLocks noGrp="1"/>
          </p:cNvSpPr>
          <p:nvPr>
            <p:ph type="body" sz="quarter" idx="33"/>
          </p:nvPr>
        </p:nvSpPr>
        <p:spPr>
          <a:xfrm>
            <a:off x="7907900" y="1880213"/>
            <a:ext cx="3846100" cy="1944000"/>
          </a:xfrm>
        </p:spPr>
        <p:txBody>
          <a:bodyPr vert="horz" lIns="0" tIns="0" rIns="0" bIns="0" rtlCol="0" anchor="t">
            <a:normAutofit/>
          </a:bodyPr>
          <a:lstStyle/>
          <a:p>
            <a:pPr algn="ctr"/>
            <a:r>
              <a:rPr lang="en-US"/>
              <a:t>Andrew Jarick</a:t>
            </a:r>
          </a:p>
        </p:txBody>
      </p:sp>
      <p:sp>
        <p:nvSpPr>
          <p:cNvPr id="21" name="Text Placeholder 20"/>
          <p:cNvSpPr>
            <a:spLocks noGrp="1"/>
          </p:cNvSpPr>
          <p:nvPr>
            <p:ph type="body" sz="quarter" idx="34"/>
          </p:nvPr>
        </p:nvSpPr>
        <p:spPr>
          <a:xfrm>
            <a:off x="2104051" y="4256213"/>
            <a:ext cx="3824765" cy="1944000"/>
          </a:xfrm>
        </p:spPr>
        <p:txBody>
          <a:bodyPr vert="horz" lIns="0" tIns="0" rIns="0" bIns="0" rtlCol="0" anchor="t">
            <a:normAutofit/>
          </a:bodyPr>
          <a:lstStyle/>
          <a:p>
            <a:pPr algn="ctr"/>
            <a:r>
              <a:rPr lang="en-US"/>
              <a:t>Kevin Joan Delgado Perez</a:t>
            </a:r>
            <a:endParaRPr lang="en-US" noProof="0"/>
          </a:p>
        </p:txBody>
      </p:sp>
      <p:sp>
        <p:nvSpPr>
          <p:cNvPr id="2" name="Text Placeholder 1"/>
          <p:cNvSpPr>
            <a:spLocks noGrp="1"/>
          </p:cNvSpPr>
          <p:nvPr>
            <p:ph type="body" sz="quarter" idx="35"/>
          </p:nvPr>
        </p:nvSpPr>
        <p:spPr>
          <a:xfrm>
            <a:off x="7905645" y="4256213"/>
            <a:ext cx="3848355" cy="1944000"/>
          </a:xfrm>
        </p:spPr>
        <p:txBody>
          <a:bodyPr vert="horz" lIns="0" tIns="0" rIns="0" bIns="0" rtlCol="0" anchor="t">
            <a:normAutofit/>
          </a:bodyPr>
          <a:lstStyle/>
          <a:p>
            <a:pPr algn="ctr"/>
            <a:r>
              <a:rPr lang="en-US"/>
              <a:t>Andrea Mercado</a:t>
            </a:r>
          </a:p>
        </p:txBody>
      </p:sp>
      <p:sp>
        <p:nvSpPr>
          <p:cNvPr id="5" name="Title 4"/>
          <p:cNvSpPr>
            <a:spLocks noGrp="1"/>
          </p:cNvSpPr>
          <p:nvPr>
            <p:ph type="title"/>
          </p:nvPr>
        </p:nvSpPr>
        <p:spPr>
          <a:xfrm>
            <a:off x="450000" y="345992"/>
            <a:ext cx="11304000" cy="342000"/>
          </a:xfrm>
        </p:spPr>
        <p:txBody>
          <a:bodyPr anchor="t">
            <a:normAutofit/>
          </a:bodyPr>
          <a:lstStyle/>
          <a:p>
            <a:r>
              <a:rPr lang="en-US">
                <a:cs typeface="Calibri Light"/>
              </a:rPr>
              <a:t>Meet the Team</a:t>
            </a:r>
            <a:endParaRPr lang="en-US" noProof="0"/>
          </a:p>
        </p:txBody>
      </p:sp>
      <p:pic>
        <p:nvPicPr>
          <p:cNvPr id="10" name="Picture Placeholder 9" descr="A person taking a selfie&#10;&#10;Description automatically generated">
            <a:extLst>
              <a:ext uri="{FF2B5EF4-FFF2-40B4-BE49-F238E27FC236}">
                <a16:creationId xmlns:a16="http://schemas.microsoft.com/office/drawing/2014/main" id="{0C6B0F90-0345-2FC0-95E2-3F9D5E35CCC4}"/>
              </a:ext>
            </a:extLst>
          </p:cNvPr>
          <p:cNvPicPr>
            <a:picLocks noGrp="1" noChangeAspect="1"/>
          </p:cNvPicPr>
          <p:nvPr>
            <p:ph type="pic" sz="quarter" idx="29"/>
          </p:nvPr>
        </p:nvPicPr>
        <p:blipFill rotWithShape="1">
          <a:blip r:embed="rId6"/>
          <a:srcRect l="-960" t="6382" r="960" b="13542"/>
          <a:stretch/>
        </p:blipFill>
        <p:spPr>
          <a:xfrm>
            <a:off x="450000" y="4256213"/>
            <a:ext cx="1476000" cy="1476000"/>
          </a:xfrm>
        </p:spPr>
      </p:pic>
    </p:spTree>
    <p:extLst>
      <p:ext uri="{BB962C8B-B14F-4D97-AF65-F5344CB8AC3E}">
        <p14:creationId xmlns:p14="http://schemas.microsoft.com/office/powerpoint/2010/main" val="15335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0000" y="345992"/>
            <a:ext cx="11304000" cy="342000"/>
          </a:xfrm>
        </p:spPr>
        <p:txBody>
          <a:bodyPr anchor="t">
            <a:normAutofit/>
          </a:bodyPr>
          <a:lstStyle/>
          <a:p>
            <a:r>
              <a:rPr lang="en-US" noProof="0"/>
              <a:t>Agenda</a:t>
            </a:r>
          </a:p>
        </p:txBody>
      </p:sp>
      <p:graphicFrame>
        <p:nvGraphicFramePr>
          <p:cNvPr id="7" name="Group 3">
            <a:extLst>
              <a:ext uri="{FF2B5EF4-FFF2-40B4-BE49-F238E27FC236}">
                <a16:creationId xmlns:a16="http://schemas.microsoft.com/office/drawing/2014/main" id="{3B0C6FD2-6FE9-6B07-5F93-0F7B3FD967ED}"/>
              </a:ext>
            </a:extLst>
          </p:cNvPr>
          <p:cNvGraphicFramePr>
            <a:graphicFrameLocks noGrp="1"/>
          </p:cNvGraphicFramePr>
          <p:nvPr>
            <p:ph idx="1"/>
            <p:extLst>
              <p:ext uri="{D42A27DB-BD31-4B8C-83A1-F6EECF244321}">
                <p14:modId xmlns:p14="http://schemas.microsoft.com/office/powerpoint/2010/main" val="779957545"/>
              </p:ext>
            </p:extLst>
          </p:nvPr>
        </p:nvGraphicFramePr>
        <p:xfrm>
          <a:off x="449704" y="687049"/>
          <a:ext cx="10965269" cy="5454556"/>
        </p:xfrm>
        <a:graphic>
          <a:graphicData uri="http://schemas.openxmlformats.org/drawingml/2006/table">
            <a:tbl>
              <a:tblPr firstRow="1" bandRow="1"/>
              <a:tblGrid>
                <a:gridCol w="10965269">
                  <a:extLst>
                    <a:ext uri="{9D8B030D-6E8A-4147-A177-3AD203B41FA5}">
                      <a16:colId xmlns:a16="http://schemas.microsoft.com/office/drawing/2014/main" val="20000"/>
                    </a:ext>
                  </a:extLst>
                </a:gridCol>
              </a:tblGrid>
              <a:tr h="457550">
                <a:tc>
                  <a:txBody>
                    <a:bodyPr/>
                    <a:lstStyle/>
                    <a:p>
                      <a:pPr marL="0" marR="0" lvl="0" indent="0" algn="ctr" defTabSz="684213" rtl="0" eaLnBrk="0" fontAlgn="base" latinLnBrk="0" hangingPunct="0">
                        <a:lnSpc>
                          <a:spcPct val="100000"/>
                        </a:lnSpc>
                        <a:spcBef>
                          <a:spcPts val="400"/>
                        </a:spcBef>
                        <a:spcAft>
                          <a:spcPct val="0"/>
                        </a:spcAft>
                        <a:buClrTx/>
                        <a:buSzPct val="25000"/>
                        <a:buFont typeface="Wingdings" pitchFamily="2" charset="2"/>
                        <a:buNone/>
                        <a:tabLst/>
                      </a:pPr>
                      <a:r>
                        <a:rPr lang="en-US" sz="3600" b="1" u="none" strike="noStrike" cap="none" normalizeH="0" baseline="0" dirty="0">
                          <a:ln>
                            <a:noFill/>
                          </a:ln>
                          <a:solidFill>
                            <a:srgbClr val="26890D"/>
                          </a:solidFill>
                          <a:effectLst/>
                          <a:latin typeface="Calibri"/>
                        </a:rPr>
                        <a:t>Topic</a:t>
                      </a:r>
                      <a:endParaRPr kumimoji="0" lang="en-US" sz="3600" b="1" i="0" u="none" strike="noStrike" cap="none" normalizeH="0" baseline="0" dirty="0">
                        <a:ln>
                          <a:noFill/>
                        </a:ln>
                        <a:solidFill>
                          <a:srgbClr val="26890D"/>
                        </a:solidFill>
                        <a:effectLst/>
                        <a:latin typeface="Calibri"/>
                      </a:endParaRPr>
                    </a:p>
                  </a:txBody>
                  <a:tcPr marL="80470" marR="80470" marT="80470" marB="8047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26890D"/>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Addressing the Challenge</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Introducing our Solution </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Leveraging Data for Insight</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mn-lt"/>
                        </a:rPr>
                        <a:t>Business Impact</a:t>
                      </a:r>
                      <a:endParaRPr kumimoji="0" lang="en-US" sz="2000" b="0">
                        <a:latin typeface="+mn-lt"/>
                      </a:endParaRPr>
                    </a:p>
                  </a:txBody>
                  <a:tcPr marL="80470" marR="80470" marT="80470" marB="80470" anchor="ctr">
                    <a:lnL w="0">
                      <a:noFill/>
                    </a:lnL>
                    <a:lnR w="0">
                      <a:noFill/>
                    </a:lnR>
                    <a:lnT w="3175" cap="flat" cmpd="sng" algn="ctr">
                      <a:solidFill>
                        <a:schemeClr val="tx1"/>
                      </a:solidFill>
                      <a:prstDash val="solid"/>
                      <a:round/>
                      <a:headEnd type="none" w="med" len="med"/>
                      <a:tailEnd type="none" w="med" len="med"/>
                    </a:lnT>
                    <a:lnB w="3174">
                      <a:solidFill>
                        <a:schemeClr val="tx1"/>
                      </a:solidFill>
                    </a:lnB>
                    <a:lnTlToBr w="0">
                      <a:noFill/>
                    </a:lnTlToBr>
                    <a:lnBlToTr w="0">
                      <a:noFill/>
                    </a:lnBlToTr>
                  </a:tcPr>
                </a:tc>
                <a:extLst>
                  <a:ext uri="{0D108BD9-81ED-4DB2-BD59-A6C34878D82A}">
                    <a16:rowId xmlns:a16="http://schemas.microsoft.com/office/drawing/2014/main" val="100908300"/>
                  </a:ext>
                </a:extLst>
              </a:tr>
              <a:tr h="593122">
                <a:tc>
                  <a:txBody>
                    <a:bodyPr/>
                    <a:lstStyle/>
                    <a:p>
                      <a:pPr marL="0" lvl="0" indent="0" algn="ctr">
                        <a:lnSpc>
                          <a:spcPct val="100000"/>
                        </a:lnSpc>
                        <a:spcBef>
                          <a:spcPts val="300"/>
                        </a:spcBef>
                        <a:spcAft>
                          <a:spcPct val="0"/>
                        </a:spcAft>
                        <a:buNone/>
                      </a:pPr>
                      <a:r>
                        <a:rPr kumimoji="0" lang="en-US" sz="2000" b="0" i="0" u="none" strike="noStrike" cap="none" normalizeH="0" baseline="0" noProof="0" dirty="0">
                          <a:ln>
                            <a:noFill/>
                          </a:ln>
                          <a:solidFill>
                            <a:srgbClr val="000000"/>
                          </a:solidFill>
                          <a:effectLst/>
                          <a:latin typeface="Calibri"/>
                        </a:rPr>
                        <a:t>The Process</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69537932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Delivering Value</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344586052"/>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Conclusions and Key Takeaways </a:t>
                      </a:r>
                      <a:endParaRPr kumimoji="0" lang="en-US" sz="2000" b="0">
                        <a:latin typeface="Calibri"/>
                      </a:endParaRPr>
                    </a:p>
                  </a:txBody>
                  <a:tcPr marL="80470" marR="80470" marT="80470" marB="80470" anchor="ctr">
                    <a:lnL w="0">
                      <a:noFill/>
                    </a:lnL>
                    <a:lnR w="0">
                      <a:noFill/>
                    </a:lnR>
                    <a:lnT w="3174" cap="flat" cmpd="sng" algn="ctr">
                      <a:solidFill>
                        <a:schemeClr val="tx1"/>
                      </a:solidFill>
                      <a:prstDash val="solid"/>
                      <a:round/>
                      <a:headEnd type="none" w="med" len="med"/>
                      <a:tailEnd type="none" w="med" len="med"/>
                    </a:lnT>
                    <a:lnB w="3174"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731266741"/>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Q&amp;A</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2316804563"/>
                  </a:ext>
                </a:extLst>
              </a:tr>
            </a:tbl>
          </a:graphicData>
        </a:graphic>
      </p:graphicFrame>
    </p:spTree>
    <p:extLst>
      <p:ext uri="{BB962C8B-B14F-4D97-AF65-F5344CB8AC3E}">
        <p14:creationId xmlns:p14="http://schemas.microsoft.com/office/powerpoint/2010/main" val="296684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2302-29AA-01FD-69AD-025897B6A68A}"/>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F7CA0CDB-E496-DAAF-0F32-BCBEF236B0F1}"/>
              </a:ext>
            </a:extLst>
          </p:cNvPr>
          <p:cNvSpPr>
            <a:spLocks noGrp="1"/>
          </p:cNvSpPr>
          <p:nvPr>
            <p:ph type="body" idx="1"/>
          </p:nvPr>
        </p:nvSpPr>
        <p:spPr/>
        <p:txBody>
          <a:bodyPr/>
          <a:lstStyle/>
          <a:p>
            <a:r>
              <a:rPr lang="en-US" sz="2800"/>
              <a:t>Andrea</a:t>
            </a:r>
          </a:p>
        </p:txBody>
      </p:sp>
    </p:spTree>
    <p:extLst>
      <p:ext uri="{BB962C8B-B14F-4D97-AF65-F5344CB8AC3E}">
        <p14:creationId xmlns:p14="http://schemas.microsoft.com/office/powerpoint/2010/main" val="26144233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a:t>Addressing the Challenge</a:t>
            </a:r>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1796438334"/>
              </p:ext>
            </p:extLst>
          </p:nvPr>
        </p:nvGraphicFramePr>
        <p:xfrm>
          <a:off x="434886" y="1096273"/>
          <a:ext cx="11304587"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447" name="Straight Connector 2446">
            <a:extLst>
              <a:ext uri="{FF2B5EF4-FFF2-40B4-BE49-F238E27FC236}">
                <a16:creationId xmlns:a16="http://schemas.microsoft.com/office/drawing/2014/main" id="{DE9B7B44-AD19-1E70-F5CE-AF8F8214F83F}"/>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46071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a:t>Introducing Our Solution:  </a:t>
            </a:r>
            <a:r>
              <a:rPr lang="en-US" err="1"/>
              <a:t>LoyalLock</a:t>
            </a:r>
            <a:endParaRPr lang="en-US" dirty="0" err="1"/>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4110949437"/>
              </p:ext>
            </p:extLst>
          </p:nvPr>
        </p:nvGraphicFramePr>
        <p:xfrm>
          <a:off x="619333" y="1109737"/>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3067" name="Straight Connector 3066">
            <a:extLst>
              <a:ext uri="{FF2B5EF4-FFF2-40B4-BE49-F238E27FC236}">
                <a16:creationId xmlns:a16="http://schemas.microsoft.com/office/drawing/2014/main" id="{E9EC43BD-1695-2798-AEA9-45AE4F12BBE0}"/>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7390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FE800-B939-9799-1B16-12FE19C41BF6}"/>
              </a:ext>
            </a:extLst>
          </p:cNvPr>
          <p:cNvSpPr>
            <a:spLocks noGrp="1"/>
          </p:cNvSpPr>
          <p:nvPr>
            <p:ph type="title"/>
          </p:nvPr>
        </p:nvSpPr>
        <p:spPr/>
        <p:txBody>
          <a:bodyPr/>
          <a:lstStyle/>
          <a:p>
            <a:r>
              <a:rPr lang="en-US"/>
              <a:t>Exploratory Data Analysis</a:t>
            </a:r>
          </a:p>
        </p:txBody>
      </p:sp>
      <p:sp>
        <p:nvSpPr>
          <p:cNvPr id="3" name="Text Placeholder 2">
            <a:extLst>
              <a:ext uri="{FF2B5EF4-FFF2-40B4-BE49-F238E27FC236}">
                <a16:creationId xmlns:a16="http://schemas.microsoft.com/office/drawing/2014/main" id="{5DE5827D-3EF6-D4EA-08BF-2CB1D8F63053}"/>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7521108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6B210DEA-413D-1942-504B-D3C27A3F1EEF}"/>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count</a:t>
            </a:r>
          </a:p>
        </p:txBody>
      </p:sp>
      <p:pic>
        <p:nvPicPr>
          <p:cNvPr id="18" name="Picture 17">
            <a:extLst>
              <a:ext uri="{FF2B5EF4-FFF2-40B4-BE49-F238E27FC236}">
                <a16:creationId xmlns:a16="http://schemas.microsoft.com/office/drawing/2014/main" id="{FF42AA36-5F5A-B220-2CE1-282CAD468E2E}"/>
              </a:ext>
            </a:extLst>
          </p:cNvPr>
          <p:cNvPicPr>
            <a:picLocks noChangeAspect="1"/>
          </p:cNvPicPr>
          <p:nvPr/>
        </p:nvPicPr>
        <p:blipFill>
          <a:blip r:embed="rId3"/>
          <a:srcRect/>
          <a:stretch/>
        </p:blipFill>
        <p:spPr>
          <a:xfrm>
            <a:off x="5577675" y="1713275"/>
            <a:ext cx="5579429" cy="3431449"/>
          </a:xfrm>
          <a:prstGeom prst="rect">
            <a:avLst/>
          </a:prstGeom>
        </p:spPr>
      </p:pic>
      <p:cxnSp>
        <p:nvCxnSpPr>
          <p:cNvPr id="19" name="Straight Connector 18">
            <a:extLst>
              <a:ext uri="{FF2B5EF4-FFF2-40B4-BE49-F238E27FC236}">
                <a16:creationId xmlns:a16="http://schemas.microsoft.com/office/drawing/2014/main" id="{E6151FA1-9CE1-397C-D866-6810E334447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5E26C8B6-114D-9073-707F-5010A4B0F566}"/>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buFont typeface="Wingdings" panose="05000000000000000000" pitchFamily="2" charset="2"/>
              <a:buChar char="q"/>
            </a:pPr>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45</a:t>
            </a:r>
            <a:br>
              <a:rPr lang="en-US"/>
            </a:br>
            <a:endParaRPr lang="en-US"/>
          </a:p>
          <a:p>
            <a:pPr marL="285750" indent="-285750">
              <a:buFont typeface="Wingdings" panose="05000000000000000000" pitchFamily="2" charset="2"/>
              <a:buChar char="q"/>
            </a:pPr>
            <a:r>
              <a:rPr lang="en-US"/>
              <a:t>Mean of customers that stayed around 70</a:t>
            </a:r>
          </a:p>
        </p:txBody>
      </p:sp>
    </p:spTree>
    <p:extLst>
      <p:ext uri="{BB962C8B-B14F-4D97-AF65-F5344CB8AC3E}">
        <p14:creationId xmlns:p14="http://schemas.microsoft.com/office/powerpoint/2010/main" val="30429535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94B7A3E-7BA6-98D5-5D98-FE1DDC3E5528}"/>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amount</a:t>
            </a:r>
          </a:p>
        </p:txBody>
      </p:sp>
      <p:pic>
        <p:nvPicPr>
          <p:cNvPr id="4" name="Picture 3">
            <a:extLst>
              <a:ext uri="{FF2B5EF4-FFF2-40B4-BE49-F238E27FC236}">
                <a16:creationId xmlns:a16="http://schemas.microsoft.com/office/drawing/2014/main" id="{A9E437F7-920F-52B3-D93B-ECD05FE334DF}"/>
              </a:ext>
            </a:extLst>
          </p:cNvPr>
          <p:cNvPicPr>
            <a:picLocks noChangeAspect="1"/>
          </p:cNvPicPr>
          <p:nvPr/>
        </p:nvPicPr>
        <p:blipFill>
          <a:blip r:embed="rId3"/>
          <a:srcRect/>
          <a:stretch/>
        </p:blipFill>
        <p:spPr>
          <a:xfrm>
            <a:off x="5637150" y="1702002"/>
            <a:ext cx="5454022" cy="3453995"/>
          </a:xfrm>
          <a:prstGeom prst="rect">
            <a:avLst/>
          </a:prstGeom>
        </p:spPr>
      </p:pic>
      <p:sp>
        <p:nvSpPr>
          <p:cNvPr id="5" name="Oval 4">
            <a:extLst>
              <a:ext uri="{FF2B5EF4-FFF2-40B4-BE49-F238E27FC236}">
                <a16:creationId xmlns:a16="http://schemas.microsoft.com/office/drawing/2014/main" id="{A1F91E32-0F10-FA81-5463-01926B3687DF}"/>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3000</a:t>
            </a:r>
            <a:br>
              <a:rPr lang="en-US"/>
            </a:br>
            <a:endParaRPr lang="en-US"/>
          </a:p>
          <a:p>
            <a:pPr marL="285750" indent="-285750">
              <a:buFont typeface="Wingdings" panose="05000000000000000000" pitchFamily="2" charset="2"/>
              <a:buChar char="q"/>
            </a:pPr>
            <a:r>
              <a:rPr lang="en-US"/>
              <a:t>Mean of customers that stayed around 4600</a:t>
            </a:r>
          </a:p>
          <a:p>
            <a:pPr marL="285750" indent="-285750">
              <a:buFont typeface="Wingdings" panose="05000000000000000000" pitchFamily="2" charset="2"/>
              <a:buChar char="q"/>
            </a:pPr>
            <a:endParaRPr lang="en-US"/>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3076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2.xml><?xml version="1.0" encoding="utf-8"?>
<ds:datastoreItem xmlns:ds="http://schemas.openxmlformats.org/officeDocument/2006/customXml" ds:itemID="{9BE5DF06-D84A-445D-9CCE-BFB4E1EA9810}">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EEE0193-3346-4FA1-A6C3-2BE7C7DE3BC4}">
  <ds:schemaRefs>
    <ds:schemaRef ds:uri="http://purl.org/dc/elements/1.1/"/>
    <ds:schemaRef ds:uri="http://schemas.openxmlformats.org/package/2006/metadata/core-properties"/>
    <ds:schemaRef ds:uri="http://schemas.microsoft.com/office/2006/documentManagement/types"/>
    <ds:schemaRef ds:uri="020100ae-1eb6-4747-a25b-6dc6dcbd1e73"/>
    <ds:schemaRef ds:uri="8c723c61-34f3-420c-a1b5-94b8a6ceade4"/>
    <ds:schemaRef ds:uri="http://purl.org/dc/terms/"/>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385</Words>
  <Application>Microsoft Office PowerPoint</Application>
  <PresentationFormat>Widescreen</PresentationFormat>
  <Paragraphs>165</Paragraphs>
  <Slides>19</Slides>
  <Notes>1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3" baseType="lpstr">
      <vt:lpstr>Arial</vt:lpstr>
      <vt:lpstr>Arial,Sans-Serif</vt:lpstr>
      <vt:lpstr>Calibri</vt:lpstr>
      <vt:lpstr>Calibri Light</vt:lpstr>
      <vt:lpstr>Inter</vt:lpstr>
      <vt:lpstr>open sans</vt:lpstr>
      <vt:lpstr>Segoe UI</vt:lpstr>
      <vt:lpstr>Verdana</vt:lpstr>
      <vt:lpstr>Wingdings</vt:lpstr>
      <vt:lpstr>Wingdings 2</vt:lpstr>
      <vt:lpstr>1_Custom Design</vt:lpstr>
      <vt:lpstr>Deloitte Brand Theme</vt:lpstr>
      <vt:lpstr>Custom Design</vt:lpstr>
      <vt:lpstr>think-cell Slide</vt:lpstr>
      <vt:lpstr>LoyalLock: Predictive Modeling for Customer Segmentation and Churn Reduction</vt:lpstr>
      <vt:lpstr>Meet the Team</vt:lpstr>
      <vt:lpstr>Agenda</vt:lpstr>
      <vt:lpstr>Introduction</vt:lpstr>
      <vt:lpstr>Addressing the Challenge</vt:lpstr>
      <vt:lpstr>Introducing Our Solution:  LoyalLock</vt:lpstr>
      <vt:lpstr>Exploratory Data Analysis</vt:lpstr>
      <vt:lpstr>Exploratory Data Analysis</vt:lpstr>
      <vt:lpstr>Exploratory Data Analysis</vt:lpstr>
      <vt:lpstr>Exploratory Data Analysis</vt:lpstr>
      <vt:lpstr>Evaluation Metrics</vt:lpstr>
      <vt:lpstr>The Impact on Business</vt:lpstr>
      <vt:lpstr>Modeling Techniques</vt:lpstr>
      <vt:lpstr>The Modeling Process</vt:lpstr>
      <vt:lpstr>Delivering Value</vt:lpstr>
      <vt:lpstr>Delivering Value</vt:lpstr>
      <vt:lpstr>Moving Forward</vt:lpstr>
      <vt:lpstr>Conclusions and Takeaways</vt:lpstr>
      <vt:lpstr>Question &amp; Answ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Chavarria, Nicole</cp:lastModifiedBy>
  <cp:revision>1</cp:revision>
  <dcterms:created xsi:type="dcterms:W3CDTF">2023-09-27T08:28:31Z</dcterms:created>
  <dcterms:modified xsi:type="dcterms:W3CDTF">2024-06-12T17:5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770C35BCB5C8A141BB7F4227B2156DCF</vt:lpwstr>
  </property>
</Properties>
</file>